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1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2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13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14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15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tags/tag7.xml" ContentType="application/vnd.openxmlformats-officedocument.presentationml.tags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709" r:id="rId1"/>
  </p:sldMasterIdLst>
  <p:notesMasterIdLst>
    <p:notesMasterId r:id="rId30"/>
  </p:notesMasterIdLst>
  <p:handoutMasterIdLst>
    <p:handoutMasterId r:id="rId31"/>
  </p:handoutMasterIdLst>
  <p:sldIdLst>
    <p:sldId id="308" r:id="rId2"/>
    <p:sldId id="303" r:id="rId3"/>
    <p:sldId id="312" r:id="rId4"/>
    <p:sldId id="311" r:id="rId5"/>
    <p:sldId id="310" r:id="rId6"/>
    <p:sldId id="309" r:id="rId7"/>
    <p:sldId id="261" r:id="rId8"/>
    <p:sldId id="269" r:id="rId9"/>
    <p:sldId id="304" r:id="rId10"/>
    <p:sldId id="305" r:id="rId11"/>
    <p:sldId id="316" r:id="rId12"/>
    <p:sldId id="315" r:id="rId13"/>
    <p:sldId id="314" r:id="rId14"/>
    <p:sldId id="313" r:id="rId15"/>
    <p:sldId id="317" r:id="rId16"/>
    <p:sldId id="297" r:id="rId17"/>
    <p:sldId id="307" r:id="rId18"/>
    <p:sldId id="318" r:id="rId19"/>
    <p:sldId id="319" r:id="rId20"/>
    <p:sldId id="320" r:id="rId21"/>
    <p:sldId id="321" r:id="rId22"/>
    <p:sldId id="322" r:id="rId23"/>
    <p:sldId id="323" r:id="rId24"/>
    <p:sldId id="324" r:id="rId25"/>
    <p:sldId id="325" r:id="rId26"/>
    <p:sldId id="326" r:id="rId27"/>
    <p:sldId id="327" r:id="rId28"/>
    <p:sldId id="299" r:id="rId29"/>
  </p:sldIdLst>
  <p:sldSz cx="10080625" cy="7561263"/>
  <p:notesSz cx="6858000" cy="9144000"/>
  <p:custDataLst>
    <p:tags r:id="rId32"/>
  </p:custDataLst>
  <p:defaultTextStyle>
    <a:defPPr>
      <a:defRPr lang="de-DE"/>
    </a:defPPr>
    <a:lvl1pPr marL="0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1pPr>
    <a:lvl2pPr marL="576072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2pPr>
    <a:lvl3pPr marL="1152144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3pPr>
    <a:lvl4pPr marL="1728216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4pPr>
    <a:lvl5pPr marL="2304288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5pPr>
    <a:lvl6pPr marL="2880360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6pPr>
    <a:lvl7pPr marL="3456432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7pPr>
    <a:lvl8pPr marL="4032504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8pPr>
    <a:lvl9pPr marL="4608576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8" orient="horz" pos="2382" userDrawn="1">
          <p15:clr>
            <a:srgbClr val="A4A3A4"/>
          </p15:clr>
        </p15:guide>
        <p15:guide id="17" pos="227" userDrawn="1">
          <p15:clr>
            <a:srgbClr val="A4A3A4"/>
          </p15:clr>
        </p15:guide>
        <p15:guide id="23" orient="horz" pos="226">
          <p15:clr>
            <a:srgbClr val="A4A3A4"/>
          </p15:clr>
        </p15:guide>
        <p15:guide id="25" orient="horz" pos="1021">
          <p15:clr>
            <a:srgbClr val="A4A3A4"/>
          </p15:clr>
        </p15:guide>
        <p15:guide id="26" orient="horz" pos="3856" userDrawn="1">
          <p15:clr>
            <a:srgbClr val="A4A3A4"/>
          </p15:clr>
        </p15:guide>
        <p15:guide id="27" orient="horz" pos="749">
          <p15:clr>
            <a:srgbClr val="A4A3A4"/>
          </p15:clr>
        </p15:guide>
        <p15:guide id="28" orient="horz" pos="4082" userDrawn="1">
          <p15:clr>
            <a:srgbClr val="A4A3A4"/>
          </p15:clr>
        </p15:guide>
        <p15:guide id="29" orient="horz" pos="4309" userDrawn="1">
          <p15:clr>
            <a:srgbClr val="A4A3A4"/>
          </p15:clr>
        </p15:guide>
        <p15:guide id="30" orient="horz" pos="4536" userDrawn="1">
          <p15:clr>
            <a:srgbClr val="A4A3A4"/>
          </p15:clr>
        </p15:guide>
        <p15:guide id="31" pos="1724" userDrawn="1">
          <p15:clr>
            <a:srgbClr val="A4A3A4"/>
          </p15:clr>
        </p15:guide>
        <p15:guide id="32" pos="1632">
          <p15:clr>
            <a:srgbClr val="A4A3A4"/>
          </p15:clr>
        </p15:guide>
        <p15:guide id="34" pos="6123" userDrawn="1">
          <p15:clr>
            <a:srgbClr val="A4A3A4"/>
          </p15:clr>
        </p15:guide>
        <p15:guide id="35" pos="4717">
          <p15:clr>
            <a:srgbClr val="A4A3A4"/>
          </p15:clr>
        </p15:guide>
        <p15:guide id="36" pos="4627" userDrawn="1">
          <p15:clr>
            <a:srgbClr val="A4A3A4"/>
          </p15:clr>
        </p15:guide>
        <p15:guide id="37" pos="3220" userDrawn="1">
          <p15:clr>
            <a:srgbClr val="A4A3A4"/>
          </p15:clr>
        </p15:guide>
        <p15:guide id="38" pos="313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pos="302">
          <p15:clr>
            <a:srgbClr val="A4A3A4"/>
          </p15:clr>
        </p15:guide>
        <p15:guide id="4" pos="401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4" name="Author" initials="A" lastIdx="0" clrIdx="4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clrMode="gray"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E20074"/>
    <a:srgbClr val="E20000"/>
    <a:srgbClr val="992C99"/>
    <a:srgbClr val="4B4B4B"/>
    <a:srgbClr val="C4C4C4"/>
    <a:srgbClr val="00FFFF"/>
    <a:srgbClr val="66FF66"/>
    <a:srgbClr val="E1E1E1"/>
    <a:srgbClr val="DEDED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532" autoAdjust="0"/>
    <p:restoredTop sz="41276" autoAdjust="0"/>
  </p:normalViewPr>
  <p:slideViewPr>
    <p:cSldViewPr snapToGrid="0" snapToObjects="1">
      <p:cViewPr varScale="1">
        <p:scale>
          <a:sx n="28" d="100"/>
          <a:sy n="28" d="100"/>
        </p:scale>
        <p:origin x="-2938" y="-72"/>
      </p:cViewPr>
      <p:guideLst>
        <p:guide orient="horz" pos="2382"/>
        <p:guide orient="horz" pos="226"/>
        <p:guide orient="horz" pos="1021"/>
        <p:guide orient="horz" pos="3856"/>
        <p:guide orient="horz" pos="749"/>
        <p:guide orient="horz" pos="4082"/>
        <p:guide orient="horz" pos="4309"/>
        <p:guide orient="horz" pos="4536"/>
        <p:guide pos="227"/>
        <p:guide pos="1724"/>
        <p:guide pos="1632"/>
        <p:guide pos="6123"/>
        <p:guide pos="4717"/>
        <p:guide pos="4627"/>
        <p:guide pos="3220"/>
        <p:guide pos="313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12246"/>
    </p:cViewPr>
  </p:sorterViewPr>
  <p:notesViewPr>
    <p:cSldViewPr snapToGrid="0" snapToObjects="1" showGuides="1">
      <p:cViewPr>
        <p:scale>
          <a:sx n="150" d="100"/>
          <a:sy n="150" d="100"/>
        </p:scale>
        <p:origin x="4308" y="108"/>
      </p:cViewPr>
      <p:guideLst>
        <p:guide orient="horz" pos="2880"/>
        <p:guide pos="2160"/>
        <p:guide pos="302"/>
        <p:guide pos="401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gs" Target="tags/tag1.xml"/><Relationship Id="rId37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notesMaster" Target="notesMasters/notesMaster1.xml"/><Relationship Id="rId35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776D148-4453-4DD8-A270-633E0380B448}" type="doc">
      <dgm:prSet loTypeId="urn:microsoft.com/office/officeart/2005/8/layout/arrow2" loCatId="process" qsTypeId="urn:microsoft.com/office/officeart/2005/8/quickstyle/simple1" qsCatId="simple" csTypeId="urn:microsoft.com/office/officeart/2005/8/colors/accent1_2" csCatId="accent1" phldr="1"/>
      <dgm:spPr/>
    </dgm:pt>
    <dgm:pt modelId="{857F0A25-AAA0-4B5D-8135-0848D29AD5EE}">
      <dgm:prSet phldrT="[Text]" custT="1"/>
      <dgm:spPr/>
      <dgm:t>
        <a:bodyPr/>
        <a:lstStyle/>
        <a:p>
          <a:endParaRPr lang="en-US" sz="2200">
            <a:latin typeface="+mj-lt"/>
          </a:endParaRPr>
        </a:p>
      </dgm:t>
    </dgm:pt>
    <dgm:pt modelId="{2ACCB2FC-FB93-4707-80C9-C3CA19776D7F}" type="sibTrans" cxnId="{52C51451-E9AF-48FA-A030-AED2EB1610D1}">
      <dgm:prSet/>
      <dgm:spPr/>
      <dgm:t>
        <a:bodyPr/>
        <a:lstStyle/>
        <a:p>
          <a:endParaRPr lang="en-US"/>
        </a:p>
      </dgm:t>
    </dgm:pt>
    <dgm:pt modelId="{897C0D08-84D6-42BE-BFA2-D1F7A2EA4AE3}" type="parTrans" cxnId="{52C51451-E9AF-48FA-A030-AED2EB1610D1}">
      <dgm:prSet/>
      <dgm:spPr/>
      <dgm:t>
        <a:bodyPr/>
        <a:lstStyle/>
        <a:p>
          <a:endParaRPr lang="en-US"/>
        </a:p>
      </dgm:t>
    </dgm:pt>
    <dgm:pt modelId="{578D0FB9-917F-4CC0-A007-411F3F96C931}" type="pres">
      <dgm:prSet presAssocID="{5776D148-4453-4DD8-A270-633E0380B448}" presName="arrowDiagram" presStyleCnt="0">
        <dgm:presLayoutVars>
          <dgm:chMax val="5"/>
          <dgm:dir/>
          <dgm:resizeHandles val="exact"/>
        </dgm:presLayoutVars>
      </dgm:prSet>
      <dgm:spPr/>
    </dgm:pt>
    <dgm:pt modelId="{17DDBB05-BDFA-4DB2-9F0B-29D3F0C8C000}" type="pres">
      <dgm:prSet presAssocID="{5776D148-4453-4DD8-A270-633E0380B448}" presName="arrow" presStyleLbl="bgShp" presStyleIdx="0" presStyleCnt="1"/>
      <dgm:spPr>
        <a:gradFill flip="none" rotWithShape="1">
          <a:gsLst>
            <a:gs pos="56000">
              <a:schemeClr val="accent5">
                <a:lumMod val="75000"/>
              </a:schemeClr>
            </a:gs>
            <a:gs pos="0">
              <a:schemeClr val="accent3"/>
            </a:gs>
            <a:gs pos="80000">
              <a:schemeClr val="accent4">
                <a:lumMod val="40000"/>
                <a:lumOff val="60000"/>
              </a:schemeClr>
            </a:gs>
          </a:gsLst>
          <a:lin ang="10800000" scaled="1"/>
          <a:tileRect/>
        </a:gradFill>
      </dgm:spPr>
    </dgm:pt>
    <dgm:pt modelId="{1C059362-5D9B-49BF-89FE-8A9A0EDE4BE1}" type="pres">
      <dgm:prSet presAssocID="{5776D148-4453-4DD8-A270-633E0380B448}" presName="arrowDiagram1" presStyleCnt="0">
        <dgm:presLayoutVars>
          <dgm:bulletEnabled val="1"/>
        </dgm:presLayoutVars>
      </dgm:prSet>
      <dgm:spPr/>
    </dgm:pt>
    <dgm:pt modelId="{CD544C81-75E2-44D8-96FA-A6C08A2F6D90}" type="pres">
      <dgm:prSet presAssocID="{857F0A25-AAA0-4B5D-8135-0848D29AD5EE}" presName="bullet1" presStyleLbl="node1" presStyleIdx="0" presStyleCnt="1"/>
      <dgm:spPr>
        <a:noFill/>
        <a:ln>
          <a:noFill/>
        </a:ln>
      </dgm:spPr>
    </dgm:pt>
    <dgm:pt modelId="{54B85F0A-918D-4C00-A698-11D3D858B853}" type="pres">
      <dgm:prSet presAssocID="{857F0A25-AAA0-4B5D-8135-0848D29AD5EE}" presName="textBox1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52C51451-E9AF-48FA-A030-AED2EB1610D1}" srcId="{5776D148-4453-4DD8-A270-633E0380B448}" destId="{857F0A25-AAA0-4B5D-8135-0848D29AD5EE}" srcOrd="0" destOrd="0" parTransId="{897C0D08-84D6-42BE-BFA2-D1F7A2EA4AE3}" sibTransId="{2ACCB2FC-FB93-4707-80C9-C3CA19776D7F}"/>
    <dgm:cxn modelId="{84204E98-E58E-4DE2-9B07-9327C9A79FE3}" type="presOf" srcId="{857F0A25-AAA0-4B5D-8135-0848D29AD5EE}" destId="{54B85F0A-918D-4C00-A698-11D3D858B853}" srcOrd="0" destOrd="0" presId="urn:microsoft.com/office/officeart/2005/8/layout/arrow2"/>
    <dgm:cxn modelId="{EE1FAB5A-C562-4BE2-82A3-A61A1F922E41}" type="presOf" srcId="{5776D148-4453-4DD8-A270-633E0380B448}" destId="{578D0FB9-917F-4CC0-A007-411F3F96C931}" srcOrd="0" destOrd="0" presId="urn:microsoft.com/office/officeart/2005/8/layout/arrow2"/>
    <dgm:cxn modelId="{620C2DEC-5A47-4946-9A0C-CC6E7A2329A2}" type="presParOf" srcId="{578D0FB9-917F-4CC0-A007-411F3F96C931}" destId="{17DDBB05-BDFA-4DB2-9F0B-29D3F0C8C000}" srcOrd="0" destOrd="0" presId="urn:microsoft.com/office/officeart/2005/8/layout/arrow2"/>
    <dgm:cxn modelId="{FFA02AEA-4771-474C-A62E-1DC4F2A4E53D}" type="presParOf" srcId="{578D0FB9-917F-4CC0-A007-411F3F96C931}" destId="{1C059362-5D9B-49BF-89FE-8A9A0EDE4BE1}" srcOrd="1" destOrd="0" presId="urn:microsoft.com/office/officeart/2005/8/layout/arrow2"/>
    <dgm:cxn modelId="{F7441054-D4AF-4A8D-8047-A2D5C2DB04D5}" type="presParOf" srcId="{1C059362-5D9B-49BF-89FE-8A9A0EDE4BE1}" destId="{CD544C81-75E2-44D8-96FA-A6C08A2F6D90}" srcOrd="0" destOrd="0" presId="urn:microsoft.com/office/officeart/2005/8/layout/arrow2"/>
    <dgm:cxn modelId="{F97C6AA2-2BDC-49FB-BF85-DCEDE1BF16EE}" type="presParOf" srcId="{1C059362-5D9B-49BF-89FE-8A9A0EDE4BE1}" destId="{54B85F0A-918D-4C00-A698-11D3D858B853}" srcOrd="1" destOrd="0" presId="urn:microsoft.com/office/officeart/2005/8/layout/arrow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5776D148-4453-4DD8-A270-633E0380B448}" type="doc">
      <dgm:prSet loTypeId="urn:microsoft.com/office/officeart/2005/8/layout/arrow2" loCatId="process" qsTypeId="urn:microsoft.com/office/officeart/2005/8/quickstyle/simple1" qsCatId="simple" csTypeId="urn:microsoft.com/office/officeart/2005/8/colors/accent1_2" csCatId="accent1" phldr="1"/>
      <dgm:spPr/>
    </dgm:pt>
    <dgm:pt modelId="{DD27FBE4-CAA4-4B5F-A331-0ABCCCB19B35}">
      <dgm:prSet phldrT="[Text]" custT="1"/>
      <dgm:spPr/>
      <dgm:t>
        <a:bodyPr/>
        <a:lstStyle/>
        <a:p>
          <a:r>
            <a:rPr lang="hu-HU" sz="2200" smtClean="0">
              <a:latin typeface="+mj-lt"/>
            </a:rPr>
            <a:t>Initial</a:t>
          </a:r>
          <a:endParaRPr lang="en-US" sz="2200">
            <a:latin typeface="+mj-lt"/>
          </a:endParaRPr>
        </a:p>
      </dgm:t>
    </dgm:pt>
    <dgm:pt modelId="{AB49AF70-D39B-4B59-85B5-D63C6A2F7771}" type="parTrans" cxnId="{EE4F7F1C-C0DD-451A-83D3-F3995C05FE4F}">
      <dgm:prSet/>
      <dgm:spPr/>
      <dgm:t>
        <a:bodyPr/>
        <a:lstStyle/>
        <a:p>
          <a:endParaRPr lang="en-US"/>
        </a:p>
      </dgm:t>
    </dgm:pt>
    <dgm:pt modelId="{55FA0694-7179-447B-98EC-FE2344BFB7CB}" type="sibTrans" cxnId="{EE4F7F1C-C0DD-451A-83D3-F3995C05FE4F}">
      <dgm:prSet/>
      <dgm:spPr/>
      <dgm:t>
        <a:bodyPr/>
        <a:lstStyle/>
        <a:p>
          <a:endParaRPr lang="en-US"/>
        </a:p>
      </dgm:t>
    </dgm:pt>
    <dgm:pt modelId="{857F0A25-AAA0-4B5D-8135-0848D29AD5EE}">
      <dgm:prSet phldrT="[Text]" custT="1"/>
      <dgm:spPr/>
      <dgm:t>
        <a:bodyPr/>
        <a:lstStyle/>
        <a:p>
          <a:endParaRPr lang="en-US" sz="2200">
            <a:latin typeface="+mj-lt"/>
          </a:endParaRPr>
        </a:p>
      </dgm:t>
    </dgm:pt>
    <dgm:pt modelId="{2ACCB2FC-FB93-4707-80C9-C3CA19776D7F}" type="sibTrans" cxnId="{52C51451-E9AF-48FA-A030-AED2EB1610D1}">
      <dgm:prSet/>
      <dgm:spPr/>
      <dgm:t>
        <a:bodyPr/>
        <a:lstStyle/>
        <a:p>
          <a:endParaRPr lang="en-US"/>
        </a:p>
      </dgm:t>
    </dgm:pt>
    <dgm:pt modelId="{897C0D08-84D6-42BE-BFA2-D1F7A2EA4AE3}" type="parTrans" cxnId="{52C51451-E9AF-48FA-A030-AED2EB1610D1}">
      <dgm:prSet/>
      <dgm:spPr/>
      <dgm:t>
        <a:bodyPr/>
        <a:lstStyle/>
        <a:p>
          <a:endParaRPr lang="en-US"/>
        </a:p>
      </dgm:t>
    </dgm:pt>
    <dgm:pt modelId="{656458C8-620E-424F-BA29-3C94D87C1C12}">
      <dgm:prSet phldrT="[Text]" custT="1"/>
      <dgm:spPr>
        <a:noFill/>
        <a:ln>
          <a:noFill/>
        </a:ln>
      </dgm:spPr>
      <dgm:t>
        <a:bodyPr/>
        <a:lstStyle/>
        <a:p>
          <a:endParaRPr lang="en-US" sz="2200">
            <a:latin typeface="+mj-lt"/>
          </a:endParaRPr>
        </a:p>
      </dgm:t>
    </dgm:pt>
    <dgm:pt modelId="{FAA30222-A6AF-4594-8D6A-53A9762C43F5}" type="sibTrans" cxnId="{D8F6A875-0A92-43CD-9B8E-E593B26131CA}">
      <dgm:prSet/>
      <dgm:spPr/>
      <dgm:t>
        <a:bodyPr/>
        <a:lstStyle/>
        <a:p>
          <a:endParaRPr lang="en-US"/>
        </a:p>
      </dgm:t>
    </dgm:pt>
    <dgm:pt modelId="{51AF9843-571F-4031-BEC0-B13401A446CB}" type="parTrans" cxnId="{D8F6A875-0A92-43CD-9B8E-E593B26131CA}">
      <dgm:prSet/>
      <dgm:spPr/>
      <dgm:t>
        <a:bodyPr/>
        <a:lstStyle/>
        <a:p>
          <a:endParaRPr lang="en-US"/>
        </a:p>
      </dgm:t>
    </dgm:pt>
    <dgm:pt modelId="{E25A1D40-A993-4CB8-B5DB-FBEC30ECD49A}">
      <dgm:prSet phldrT="[Text]" custT="1"/>
      <dgm:spPr/>
      <dgm:t>
        <a:bodyPr/>
        <a:lstStyle/>
        <a:p>
          <a:endParaRPr lang="en-US" sz="2200">
            <a:latin typeface="+mj-lt"/>
          </a:endParaRPr>
        </a:p>
      </dgm:t>
    </dgm:pt>
    <dgm:pt modelId="{BA7F0204-9B2C-4CEB-9EBF-9218B8A581FA}" type="sibTrans" cxnId="{F2C40DDA-F34D-4921-9371-20143427D627}">
      <dgm:prSet/>
      <dgm:spPr/>
      <dgm:t>
        <a:bodyPr/>
        <a:lstStyle/>
        <a:p>
          <a:endParaRPr lang="en-US"/>
        </a:p>
      </dgm:t>
    </dgm:pt>
    <dgm:pt modelId="{896F440D-B2C5-41B4-B8F5-72EBB34F829B}" type="parTrans" cxnId="{F2C40DDA-F34D-4921-9371-20143427D627}">
      <dgm:prSet/>
      <dgm:spPr/>
      <dgm:t>
        <a:bodyPr/>
        <a:lstStyle/>
        <a:p>
          <a:endParaRPr lang="en-US"/>
        </a:p>
      </dgm:t>
    </dgm:pt>
    <dgm:pt modelId="{EA4ED52C-0B07-471E-BDA5-3DB1AD3F1A2E}">
      <dgm:prSet phldrT="[Text]" custT="1"/>
      <dgm:spPr/>
      <dgm:t>
        <a:bodyPr/>
        <a:lstStyle/>
        <a:p>
          <a:pPr algn="l"/>
          <a:endParaRPr lang="en-US" sz="2200">
            <a:latin typeface="+mj-lt"/>
          </a:endParaRPr>
        </a:p>
      </dgm:t>
    </dgm:pt>
    <dgm:pt modelId="{76327A14-83D8-4681-8DFD-554437A2C4C5}" type="sibTrans" cxnId="{8932C705-8ADF-485A-A72A-691889D41B31}">
      <dgm:prSet/>
      <dgm:spPr/>
      <dgm:t>
        <a:bodyPr/>
        <a:lstStyle/>
        <a:p>
          <a:endParaRPr lang="en-US"/>
        </a:p>
      </dgm:t>
    </dgm:pt>
    <dgm:pt modelId="{4080C5D4-17BF-4B8B-B65E-257712E45C40}" type="parTrans" cxnId="{8932C705-8ADF-485A-A72A-691889D41B31}">
      <dgm:prSet/>
      <dgm:spPr/>
      <dgm:t>
        <a:bodyPr/>
        <a:lstStyle/>
        <a:p>
          <a:endParaRPr lang="en-US"/>
        </a:p>
      </dgm:t>
    </dgm:pt>
    <dgm:pt modelId="{578D0FB9-917F-4CC0-A007-411F3F96C931}" type="pres">
      <dgm:prSet presAssocID="{5776D148-4453-4DD8-A270-633E0380B448}" presName="arrowDiagram" presStyleCnt="0">
        <dgm:presLayoutVars>
          <dgm:chMax val="5"/>
          <dgm:dir/>
          <dgm:resizeHandles val="exact"/>
        </dgm:presLayoutVars>
      </dgm:prSet>
      <dgm:spPr/>
    </dgm:pt>
    <dgm:pt modelId="{17DDBB05-BDFA-4DB2-9F0B-29D3F0C8C000}" type="pres">
      <dgm:prSet presAssocID="{5776D148-4453-4DD8-A270-633E0380B448}" presName="arrow" presStyleLbl="bgShp" presStyleIdx="0" presStyleCnt="1"/>
      <dgm:spPr>
        <a:gradFill flip="none" rotWithShape="1">
          <a:gsLst>
            <a:gs pos="56000">
              <a:schemeClr val="accent5">
                <a:lumMod val="75000"/>
              </a:schemeClr>
            </a:gs>
            <a:gs pos="0">
              <a:schemeClr val="accent3"/>
            </a:gs>
            <a:gs pos="80000">
              <a:schemeClr val="accent4">
                <a:lumMod val="40000"/>
                <a:lumOff val="60000"/>
              </a:schemeClr>
            </a:gs>
          </a:gsLst>
          <a:lin ang="10800000" scaled="1"/>
          <a:tileRect/>
        </a:gradFill>
      </dgm:spPr>
    </dgm:pt>
    <dgm:pt modelId="{42B39A96-0046-4A1F-8CBE-6AA1D1EF569B}" type="pres">
      <dgm:prSet presAssocID="{5776D148-4453-4DD8-A270-633E0380B448}" presName="arrowDiagram5" presStyleCnt="0"/>
      <dgm:spPr/>
    </dgm:pt>
    <dgm:pt modelId="{4D32A8BA-C528-4154-98C2-0C689BA1A28E}" type="pres">
      <dgm:prSet presAssocID="{DD27FBE4-CAA4-4B5F-A331-0ABCCCB19B35}" presName="bullet5a" presStyleLbl="node1" presStyleIdx="0" presStyleCnt="5"/>
      <dgm:spPr/>
      <dgm:t>
        <a:bodyPr/>
        <a:lstStyle/>
        <a:p>
          <a:endParaRPr lang="en-US"/>
        </a:p>
      </dgm:t>
    </dgm:pt>
    <dgm:pt modelId="{131B3ADB-5427-4272-8FC7-1A46B9B3C0B1}" type="pres">
      <dgm:prSet presAssocID="{DD27FBE4-CAA4-4B5F-A331-0ABCCCB19B35}" presName="textBox5a" presStyleLbl="revTx" presStyleIdx="0" presStyleCnt="5" custScaleX="134123" custScaleY="87580" custLinFactNeighborY="1109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FD5FEF3-1EF9-401D-ABE6-F788D845AF40}" type="pres">
      <dgm:prSet presAssocID="{EA4ED52C-0B07-471E-BDA5-3DB1AD3F1A2E}" presName="bullet5b" presStyleLbl="node1" presStyleIdx="1" presStyleCnt="5"/>
      <dgm:spPr>
        <a:noFill/>
        <a:ln>
          <a:noFill/>
        </a:ln>
      </dgm:spPr>
    </dgm:pt>
    <dgm:pt modelId="{241DE455-84EC-443A-B076-FFA35B22B34D}" type="pres">
      <dgm:prSet presAssocID="{EA4ED52C-0B07-471E-BDA5-3DB1AD3F1A2E}" presName="textBox5b" presStyleLbl="revTx" presStyleIdx="1" presStyleCnt="5" custScaleX="149837" custScaleY="8415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FF15FAC-5719-4C10-A1A3-E1C25AF45E8F}" type="pres">
      <dgm:prSet presAssocID="{E25A1D40-A993-4CB8-B5DB-FBEC30ECD49A}" presName="bullet5c" presStyleLbl="node1" presStyleIdx="2" presStyleCnt="5"/>
      <dgm:spPr>
        <a:noFill/>
        <a:ln>
          <a:noFill/>
        </a:ln>
      </dgm:spPr>
      <dgm:t>
        <a:bodyPr/>
        <a:lstStyle/>
        <a:p>
          <a:endParaRPr lang="en-US"/>
        </a:p>
      </dgm:t>
    </dgm:pt>
    <dgm:pt modelId="{04BCD35D-9176-4EA2-8C64-FD088386FDEF}" type="pres">
      <dgm:prSet presAssocID="{E25A1D40-A993-4CB8-B5DB-FBEC30ECD49A}" presName="textBox5c" presStyleLbl="revTx" presStyleIdx="2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D6B94A6-E378-4D7E-97EF-20FE2AD6F1D5}" type="pres">
      <dgm:prSet presAssocID="{656458C8-620E-424F-BA29-3C94D87C1C12}" presName="bullet5d" presStyleLbl="node1" presStyleIdx="3" presStyleCnt="5"/>
      <dgm:spPr>
        <a:noFill/>
        <a:ln>
          <a:noFill/>
        </a:ln>
      </dgm:spPr>
    </dgm:pt>
    <dgm:pt modelId="{B85C2168-F842-498E-8ECB-28AF220805F6}" type="pres">
      <dgm:prSet presAssocID="{656458C8-620E-424F-BA29-3C94D87C1C12}" presName="textBox5d" presStyleLbl="revTx" presStyleIdx="3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480E726-5250-4A51-84BD-99A36C5B00B3}" type="pres">
      <dgm:prSet presAssocID="{857F0A25-AAA0-4B5D-8135-0848D29AD5EE}" presName="bullet5e" presStyleLbl="node1" presStyleIdx="4" presStyleCnt="5"/>
      <dgm:spPr>
        <a:noFill/>
        <a:ln>
          <a:noFill/>
        </a:ln>
      </dgm:spPr>
    </dgm:pt>
    <dgm:pt modelId="{7C0862F5-C9D0-460F-845D-EC41C6605AFF}" type="pres">
      <dgm:prSet presAssocID="{857F0A25-AAA0-4B5D-8135-0848D29AD5EE}" presName="textBox5e" presStyleLbl="revTx" presStyleIdx="4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3C57739A-6E88-4709-89CC-6865AD1A7CC6}" type="presOf" srcId="{DD27FBE4-CAA4-4B5F-A331-0ABCCCB19B35}" destId="{131B3ADB-5427-4272-8FC7-1A46B9B3C0B1}" srcOrd="0" destOrd="0" presId="urn:microsoft.com/office/officeart/2005/8/layout/arrow2"/>
    <dgm:cxn modelId="{EE4F7F1C-C0DD-451A-83D3-F3995C05FE4F}" srcId="{5776D148-4453-4DD8-A270-633E0380B448}" destId="{DD27FBE4-CAA4-4B5F-A331-0ABCCCB19B35}" srcOrd="0" destOrd="0" parTransId="{AB49AF70-D39B-4B59-85B5-D63C6A2F7771}" sibTransId="{55FA0694-7179-447B-98EC-FE2344BFB7CB}"/>
    <dgm:cxn modelId="{AC41FC1A-8668-4EF9-A3BF-F5E0CC4744C8}" type="presOf" srcId="{656458C8-620E-424F-BA29-3C94D87C1C12}" destId="{B85C2168-F842-498E-8ECB-28AF220805F6}" srcOrd="0" destOrd="0" presId="urn:microsoft.com/office/officeart/2005/8/layout/arrow2"/>
    <dgm:cxn modelId="{163AB110-3415-4790-B077-E946BA98D96E}" type="presOf" srcId="{857F0A25-AAA0-4B5D-8135-0848D29AD5EE}" destId="{7C0862F5-C9D0-460F-845D-EC41C6605AFF}" srcOrd="0" destOrd="0" presId="urn:microsoft.com/office/officeart/2005/8/layout/arrow2"/>
    <dgm:cxn modelId="{8932C705-8ADF-485A-A72A-691889D41B31}" srcId="{5776D148-4453-4DD8-A270-633E0380B448}" destId="{EA4ED52C-0B07-471E-BDA5-3DB1AD3F1A2E}" srcOrd="1" destOrd="0" parTransId="{4080C5D4-17BF-4B8B-B65E-257712E45C40}" sibTransId="{76327A14-83D8-4681-8DFD-554437A2C4C5}"/>
    <dgm:cxn modelId="{52C51451-E9AF-48FA-A030-AED2EB1610D1}" srcId="{5776D148-4453-4DD8-A270-633E0380B448}" destId="{857F0A25-AAA0-4B5D-8135-0848D29AD5EE}" srcOrd="4" destOrd="0" parTransId="{897C0D08-84D6-42BE-BFA2-D1F7A2EA4AE3}" sibTransId="{2ACCB2FC-FB93-4707-80C9-C3CA19776D7F}"/>
    <dgm:cxn modelId="{D8F6A875-0A92-43CD-9B8E-E593B26131CA}" srcId="{5776D148-4453-4DD8-A270-633E0380B448}" destId="{656458C8-620E-424F-BA29-3C94D87C1C12}" srcOrd="3" destOrd="0" parTransId="{51AF9843-571F-4031-BEC0-B13401A446CB}" sibTransId="{FAA30222-A6AF-4594-8D6A-53A9762C43F5}"/>
    <dgm:cxn modelId="{9EA7256A-382C-4875-83FA-E08012E57100}" type="presOf" srcId="{EA4ED52C-0B07-471E-BDA5-3DB1AD3F1A2E}" destId="{241DE455-84EC-443A-B076-FFA35B22B34D}" srcOrd="0" destOrd="0" presId="urn:microsoft.com/office/officeart/2005/8/layout/arrow2"/>
    <dgm:cxn modelId="{F2C40DDA-F34D-4921-9371-20143427D627}" srcId="{5776D148-4453-4DD8-A270-633E0380B448}" destId="{E25A1D40-A993-4CB8-B5DB-FBEC30ECD49A}" srcOrd="2" destOrd="0" parTransId="{896F440D-B2C5-41B4-B8F5-72EBB34F829B}" sibTransId="{BA7F0204-9B2C-4CEB-9EBF-9218B8A581FA}"/>
    <dgm:cxn modelId="{DCEE9AE2-7265-41C9-A57F-95E260833405}" type="presOf" srcId="{E25A1D40-A993-4CB8-B5DB-FBEC30ECD49A}" destId="{04BCD35D-9176-4EA2-8C64-FD088386FDEF}" srcOrd="0" destOrd="0" presId="urn:microsoft.com/office/officeart/2005/8/layout/arrow2"/>
    <dgm:cxn modelId="{A635D516-09AA-4582-A856-A07BF784F37C}" type="presOf" srcId="{5776D148-4453-4DD8-A270-633E0380B448}" destId="{578D0FB9-917F-4CC0-A007-411F3F96C931}" srcOrd="0" destOrd="0" presId="urn:microsoft.com/office/officeart/2005/8/layout/arrow2"/>
    <dgm:cxn modelId="{2211B91A-F1D8-4783-84A4-EE404A5B9461}" type="presParOf" srcId="{578D0FB9-917F-4CC0-A007-411F3F96C931}" destId="{17DDBB05-BDFA-4DB2-9F0B-29D3F0C8C000}" srcOrd="0" destOrd="0" presId="urn:microsoft.com/office/officeart/2005/8/layout/arrow2"/>
    <dgm:cxn modelId="{E86D1AE7-1D4F-4189-AE0E-FA183A78FF4A}" type="presParOf" srcId="{578D0FB9-917F-4CC0-A007-411F3F96C931}" destId="{42B39A96-0046-4A1F-8CBE-6AA1D1EF569B}" srcOrd="1" destOrd="0" presId="urn:microsoft.com/office/officeart/2005/8/layout/arrow2"/>
    <dgm:cxn modelId="{EA806E57-2641-408D-A95B-FCF8748B15FF}" type="presParOf" srcId="{42B39A96-0046-4A1F-8CBE-6AA1D1EF569B}" destId="{4D32A8BA-C528-4154-98C2-0C689BA1A28E}" srcOrd="0" destOrd="0" presId="urn:microsoft.com/office/officeart/2005/8/layout/arrow2"/>
    <dgm:cxn modelId="{00200F78-5724-4D3C-9602-5EC60C8D7E27}" type="presParOf" srcId="{42B39A96-0046-4A1F-8CBE-6AA1D1EF569B}" destId="{131B3ADB-5427-4272-8FC7-1A46B9B3C0B1}" srcOrd="1" destOrd="0" presId="urn:microsoft.com/office/officeart/2005/8/layout/arrow2"/>
    <dgm:cxn modelId="{30622B80-604D-47AD-BD9B-9F3F0F3C0424}" type="presParOf" srcId="{42B39A96-0046-4A1F-8CBE-6AA1D1EF569B}" destId="{0FD5FEF3-1EF9-401D-ABE6-F788D845AF40}" srcOrd="2" destOrd="0" presId="urn:microsoft.com/office/officeart/2005/8/layout/arrow2"/>
    <dgm:cxn modelId="{6C07D746-CEFC-4189-9BAE-813E2F50226A}" type="presParOf" srcId="{42B39A96-0046-4A1F-8CBE-6AA1D1EF569B}" destId="{241DE455-84EC-443A-B076-FFA35B22B34D}" srcOrd="3" destOrd="0" presId="urn:microsoft.com/office/officeart/2005/8/layout/arrow2"/>
    <dgm:cxn modelId="{91584170-C71A-4CEB-8533-38B20BB306AD}" type="presParOf" srcId="{42B39A96-0046-4A1F-8CBE-6AA1D1EF569B}" destId="{CFF15FAC-5719-4C10-A1A3-E1C25AF45E8F}" srcOrd="4" destOrd="0" presId="urn:microsoft.com/office/officeart/2005/8/layout/arrow2"/>
    <dgm:cxn modelId="{E926C455-0BF1-4C73-8315-98122C4ACC7E}" type="presParOf" srcId="{42B39A96-0046-4A1F-8CBE-6AA1D1EF569B}" destId="{04BCD35D-9176-4EA2-8C64-FD088386FDEF}" srcOrd="5" destOrd="0" presId="urn:microsoft.com/office/officeart/2005/8/layout/arrow2"/>
    <dgm:cxn modelId="{7B66B02F-E3A5-40B3-B03A-4731BFBCD5AA}" type="presParOf" srcId="{42B39A96-0046-4A1F-8CBE-6AA1D1EF569B}" destId="{BD6B94A6-E378-4D7E-97EF-20FE2AD6F1D5}" srcOrd="6" destOrd="0" presId="urn:microsoft.com/office/officeart/2005/8/layout/arrow2"/>
    <dgm:cxn modelId="{42EF1558-E744-4617-A56C-05CB363B690F}" type="presParOf" srcId="{42B39A96-0046-4A1F-8CBE-6AA1D1EF569B}" destId="{B85C2168-F842-498E-8ECB-28AF220805F6}" srcOrd="7" destOrd="0" presId="urn:microsoft.com/office/officeart/2005/8/layout/arrow2"/>
    <dgm:cxn modelId="{D9DAB3CC-CFC7-4749-9603-204C44DCC291}" type="presParOf" srcId="{42B39A96-0046-4A1F-8CBE-6AA1D1EF569B}" destId="{8480E726-5250-4A51-84BD-99A36C5B00B3}" srcOrd="8" destOrd="0" presId="urn:microsoft.com/office/officeart/2005/8/layout/arrow2"/>
    <dgm:cxn modelId="{C1CA70CC-8D3C-4F39-8720-7070AFBC83B9}" type="presParOf" srcId="{42B39A96-0046-4A1F-8CBE-6AA1D1EF569B}" destId="{7C0862F5-C9D0-460F-845D-EC41C6605AFF}" srcOrd="9" destOrd="0" presId="urn:microsoft.com/office/officeart/2005/8/layout/arrow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5776D148-4453-4DD8-A270-633E0380B448}" type="doc">
      <dgm:prSet loTypeId="urn:microsoft.com/office/officeart/2005/8/layout/arrow2" loCatId="process" qsTypeId="urn:microsoft.com/office/officeart/2005/8/quickstyle/simple1" qsCatId="simple" csTypeId="urn:microsoft.com/office/officeart/2005/8/colors/accent1_2" csCatId="accent1" phldr="1"/>
      <dgm:spPr/>
    </dgm:pt>
    <dgm:pt modelId="{DD27FBE4-CAA4-4B5F-A331-0ABCCCB19B35}">
      <dgm:prSet phldrT="[Text]" custT="1"/>
      <dgm:spPr/>
      <dgm:t>
        <a:bodyPr/>
        <a:lstStyle/>
        <a:p>
          <a:r>
            <a:rPr lang="hu-HU" sz="2200" smtClean="0">
              <a:latin typeface="+mj-lt"/>
            </a:rPr>
            <a:t>Initial</a:t>
          </a:r>
          <a:endParaRPr lang="en-US" sz="2200">
            <a:latin typeface="+mj-lt"/>
          </a:endParaRPr>
        </a:p>
      </dgm:t>
    </dgm:pt>
    <dgm:pt modelId="{AB49AF70-D39B-4B59-85B5-D63C6A2F7771}" type="parTrans" cxnId="{EE4F7F1C-C0DD-451A-83D3-F3995C05FE4F}">
      <dgm:prSet/>
      <dgm:spPr/>
      <dgm:t>
        <a:bodyPr/>
        <a:lstStyle/>
        <a:p>
          <a:endParaRPr lang="en-US"/>
        </a:p>
      </dgm:t>
    </dgm:pt>
    <dgm:pt modelId="{55FA0694-7179-447B-98EC-FE2344BFB7CB}" type="sibTrans" cxnId="{EE4F7F1C-C0DD-451A-83D3-F3995C05FE4F}">
      <dgm:prSet/>
      <dgm:spPr/>
      <dgm:t>
        <a:bodyPr/>
        <a:lstStyle/>
        <a:p>
          <a:endParaRPr lang="en-US"/>
        </a:p>
      </dgm:t>
    </dgm:pt>
    <dgm:pt modelId="{EA4ED52C-0B07-471E-BDA5-3DB1AD3F1A2E}">
      <dgm:prSet phldrT="[Text]" custT="1"/>
      <dgm:spPr/>
      <dgm:t>
        <a:bodyPr/>
        <a:lstStyle/>
        <a:p>
          <a:pPr algn="l"/>
          <a:r>
            <a:rPr lang="hu-HU" sz="2200" smtClean="0">
              <a:latin typeface="+mj-lt"/>
            </a:rPr>
            <a:t>Established</a:t>
          </a:r>
          <a:endParaRPr lang="en-US" sz="2200">
            <a:latin typeface="+mj-lt"/>
          </a:endParaRPr>
        </a:p>
      </dgm:t>
    </dgm:pt>
    <dgm:pt modelId="{4080C5D4-17BF-4B8B-B65E-257712E45C40}" type="parTrans" cxnId="{8932C705-8ADF-485A-A72A-691889D41B31}">
      <dgm:prSet/>
      <dgm:spPr/>
      <dgm:t>
        <a:bodyPr/>
        <a:lstStyle/>
        <a:p>
          <a:endParaRPr lang="en-US"/>
        </a:p>
      </dgm:t>
    </dgm:pt>
    <dgm:pt modelId="{76327A14-83D8-4681-8DFD-554437A2C4C5}" type="sibTrans" cxnId="{8932C705-8ADF-485A-A72A-691889D41B31}">
      <dgm:prSet/>
      <dgm:spPr/>
      <dgm:t>
        <a:bodyPr/>
        <a:lstStyle/>
        <a:p>
          <a:endParaRPr lang="en-US"/>
        </a:p>
      </dgm:t>
    </dgm:pt>
    <dgm:pt modelId="{E25A1D40-A993-4CB8-B5DB-FBEC30ECD49A}">
      <dgm:prSet phldrT="[Text]" custT="1"/>
      <dgm:spPr/>
      <dgm:t>
        <a:bodyPr/>
        <a:lstStyle/>
        <a:p>
          <a:endParaRPr lang="en-US" sz="2200">
            <a:latin typeface="+mj-lt"/>
          </a:endParaRPr>
        </a:p>
      </dgm:t>
    </dgm:pt>
    <dgm:pt modelId="{896F440D-B2C5-41B4-B8F5-72EBB34F829B}" type="parTrans" cxnId="{F2C40DDA-F34D-4921-9371-20143427D627}">
      <dgm:prSet/>
      <dgm:spPr/>
      <dgm:t>
        <a:bodyPr/>
        <a:lstStyle/>
        <a:p>
          <a:endParaRPr lang="en-US"/>
        </a:p>
      </dgm:t>
    </dgm:pt>
    <dgm:pt modelId="{BA7F0204-9B2C-4CEB-9EBF-9218B8A581FA}" type="sibTrans" cxnId="{F2C40DDA-F34D-4921-9371-20143427D627}">
      <dgm:prSet/>
      <dgm:spPr/>
      <dgm:t>
        <a:bodyPr/>
        <a:lstStyle/>
        <a:p>
          <a:endParaRPr lang="en-US"/>
        </a:p>
      </dgm:t>
    </dgm:pt>
    <dgm:pt modelId="{656458C8-620E-424F-BA29-3C94D87C1C12}">
      <dgm:prSet phldrT="[Text]" custT="1"/>
      <dgm:spPr/>
      <dgm:t>
        <a:bodyPr/>
        <a:lstStyle/>
        <a:p>
          <a:endParaRPr lang="en-US" sz="2200">
            <a:latin typeface="+mj-lt"/>
          </a:endParaRPr>
        </a:p>
      </dgm:t>
    </dgm:pt>
    <dgm:pt modelId="{51AF9843-571F-4031-BEC0-B13401A446CB}" type="parTrans" cxnId="{D8F6A875-0A92-43CD-9B8E-E593B26131CA}">
      <dgm:prSet/>
      <dgm:spPr/>
      <dgm:t>
        <a:bodyPr/>
        <a:lstStyle/>
        <a:p>
          <a:endParaRPr lang="en-US"/>
        </a:p>
      </dgm:t>
    </dgm:pt>
    <dgm:pt modelId="{FAA30222-A6AF-4594-8D6A-53A9762C43F5}" type="sibTrans" cxnId="{D8F6A875-0A92-43CD-9B8E-E593B26131CA}">
      <dgm:prSet/>
      <dgm:spPr/>
      <dgm:t>
        <a:bodyPr/>
        <a:lstStyle/>
        <a:p>
          <a:endParaRPr lang="en-US"/>
        </a:p>
      </dgm:t>
    </dgm:pt>
    <dgm:pt modelId="{857F0A25-AAA0-4B5D-8135-0848D29AD5EE}">
      <dgm:prSet phldrT="[Text]" custT="1"/>
      <dgm:spPr/>
      <dgm:t>
        <a:bodyPr/>
        <a:lstStyle/>
        <a:p>
          <a:endParaRPr lang="en-US" sz="2200">
            <a:latin typeface="+mj-lt"/>
          </a:endParaRPr>
        </a:p>
      </dgm:t>
    </dgm:pt>
    <dgm:pt modelId="{897C0D08-84D6-42BE-BFA2-D1F7A2EA4AE3}" type="parTrans" cxnId="{52C51451-E9AF-48FA-A030-AED2EB1610D1}">
      <dgm:prSet/>
      <dgm:spPr/>
      <dgm:t>
        <a:bodyPr/>
        <a:lstStyle/>
        <a:p>
          <a:endParaRPr lang="en-US"/>
        </a:p>
      </dgm:t>
    </dgm:pt>
    <dgm:pt modelId="{2ACCB2FC-FB93-4707-80C9-C3CA19776D7F}" type="sibTrans" cxnId="{52C51451-E9AF-48FA-A030-AED2EB1610D1}">
      <dgm:prSet/>
      <dgm:spPr/>
      <dgm:t>
        <a:bodyPr/>
        <a:lstStyle/>
        <a:p>
          <a:endParaRPr lang="en-US"/>
        </a:p>
      </dgm:t>
    </dgm:pt>
    <dgm:pt modelId="{578D0FB9-917F-4CC0-A007-411F3F96C931}" type="pres">
      <dgm:prSet presAssocID="{5776D148-4453-4DD8-A270-633E0380B448}" presName="arrowDiagram" presStyleCnt="0">
        <dgm:presLayoutVars>
          <dgm:chMax val="5"/>
          <dgm:dir/>
          <dgm:resizeHandles val="exact"/>
        </dgm:presLayoutVars>
      </dgm:prSet>
      <dgm:spPr/>
    </dgm:pt>
    <dgm:pt modelId="{17DDBB05-BDFA-4DB2-9F0B-29D3F0C8C000}" type="pres">
      <dgm:prSet presAssocID="{5776D148-4453-4DD8-A270-633E0380B448}" presName="arrow" presStyleLbl="bgShp" presStyleIdx="0" presStyleCnt="1"/>
      <dgm:spPr>
        <a:gradFill flip="none" rotWithShape="1">
          <a:gsLst>
            <a:gs pos="56000">
              <a:schemeClr val="accent5">
                <a:lumMod val="75000"/>
              </a:schemeClr>
            </a:gs>
            <a:gs pos="0">
              <a:schemeClr val="accent3"/>
            </a:gs>
            <a:gs pos="80000">
              <a:schemeClr val="accent4">
                <a:lumMod val="40000"/>
                <a:lumOff val="60000"/>
              </a:schemeClr>
            </a:gs>
          </a:gsLst>
          <a:lin ang="10800000" scaled="1"/>
          <a:tileRect/>
        </a:gradFill>
      </dgm:spPr>
    </dgm:pt>
    <dgm:pt modelId="{42B39A96-0046-4A1F-8CBE-6AA1D1EF569B}" type="pres">
      <dgm:prSet presAssocID="{5776D148-4453-4DD8-A270-633E0380B448}" presName="arrowDiagram5" presStyleCnt="0"/>
      <dgm:spPr/>
    </dgm:pt>
    <dgm:pt modelId="{4D32A8BA-C528-4154-98C2-0C689BA1A28E}" type="pres">
      <dgm:prSet presAssocID="{DD27FBE4-CAA4-4B5F-A331-0ABCCCB19B35}" presName="bullet5a" presStyleLbl="node1" presStyleIdx="0" presStyleCnt="5"/>
      <dgm:spPr/>
      <dgm:t>
        <a:bodyPr/>
        <a:lstStyle/>
        <a:p>
          <a:endParaRPr lang="en-US"/>
        </a:p>
      </dgm:t>
    </dgm:pt>
    <dgm:pt modelId="{131B3ADB-5427-4272-8FC7-1A46B9B3C0B1}" type="pres">
      <dgm:prSet presAssocID="{DD27FBE4-CAA4-4B5F-A331-0ABCCCB19B35}" presName="textBox5a" presStyleLbl="revTx" presStyleIdx="0" presStyleCnt="5" custScaleX="134123" custScaleY="87580" custLinFactNeighborY="1109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FD5FEF3-1EF9-401D-ABE6-F788D845AF40}" type="pres">
      <dgm:prSet presAssocID="{EA4ED52C-0B07-471E-BDA5-3DB1AD3F1A2E}" presName="bullet5b" presStyleLbl="node1" presStyleIdx="1" presStyleCnt="5"/>
      <dgm:spPr/>
    </dgm:pt>
    <dgm:pt modelId="{241DE455-84EC-443A-B076-FFA35B22B34D}" type="pres">
      <dgm:prSet presAssocID="{EA4ED52C-0B07-471E-BDA5-3DB1AD3F1A2E}" presName="textBox5b" presStyleLbl="revTx" presStyleIdx="1" presStyleCnt="5" custScaleX="149837" custScaleY="8415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FF15FAC-5719-4C10-A1A3-E1C25AF45E8F}" type="pres">
      <dgm:prSet presAssocID="{E25A1D40-A993-4CB8-B5DB-FBEC30ECD49A}" presName="bullet5c" presStyleLbl="node1" presStyleIdx="2" presStyleCnt="5"/>
      <dgm:spPr>
        <a:noFill/>
        <a:ln>
          <a:noFill/>
        </a:ln>
      </dgm:spPr>
      <dgm:t>
        <a:bodyPr/>
        <a:lstStyle/>
        <a:p>
          <a:endParaRPr lang="en-US"/>
        </a:p>
      </dgm:t>
    </dgm:pt>
    <dgm:pt modelId="{04BCD35D-9176-4EA2-8C64-FD088386FDEF}" type="pres">
      <dgm:prSet presAssocID="{E25A1D40-A993-4CB8-B5DB-FBEC30ECD49A}" presName="textBox5c" presStyleLbl="revTx" presStyleIdx="2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D6B94A6-E378-4D7E-97EF-20FE2AD6F1D5}" type="pres">
      <dgm:prSet presAssocID="{656458C8-620E-424F-BA29-3C94D87C1C12}" presName="bullet5d" presStyleLbl="node1" presStyleIdx="3" presStyleCnt="5"/>
      <dgm:spPr>
        <a:noFill/>
        <a:ln>
          <a:noFill/>
        </a:ln>
      </dgm:spPr>
    </dgm:pt>
    <dgm:pt modelId="{B85C2168-F842-498E-8ECB-28AF220805F6}" type="pres">
      <dgm:prSet presAssocID="{656458C8-620E-424F-BA29-3C94D87C1C12}" presName="textBox5d" presStyleLbl="revTx" presStyleIdx="3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480E726-5250-4A51-84BD-99A36C5B00B3}" type="pres">
      <dgm:prSet presAssocID="{857F0A25-AAA0-4B5D-8135-0848D29AD5EE}" presName="bullet5e" presStyleLbl="node1" presStyleIdx="4" presStyleCnt="5"/>
      <dgm:spPr>
        <a:noFill/>
        <a:ln>
          <a:noFill/>
        </a:ln>
      </dgm:spPr>
    </dgm:pt>
    <dgm:pt modelId="{7C0862F5-C9D0-460F-845D-EC41C6605AFF}" type="pres">
      <dgm:prSet presAssocID="{857F0A25-AAA0-4B5D-8135-0848D29AD5EE}" presName="textBox5e" presStyleLbl="revTx" presStyleIdx="4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8932C705-8ADF-485A-A72A-691889D41B31}" srcId="{5776D148-4453-4DD8-A270-633E0380B448}" destId="{EA4ED52C-0B07-471E-BDA5-3DB1AD3F1A2E}" srcOrd="1" destOrd="0" parTransId="{4080C5D4-17BF-4B8B-B65E-257712E45C40}" sibTransId="{76327A14-83D8-4681-8DFD-554437A2C4C5}"/>
    <dgm:cxn modelId="{52C51451-E9AF-48FA-A030-AED2EB1610D1}" srcId="{5776D148-4453-4DD8-A270-633E0380B448}" destId="{857F0A25-AAA0-4B5D-8135-0848D29AD5EE}" srcOrd="4" destOrd="0" parTransId="{897C0D08-84D6-42BE-BFA2-D1F7A2EA4AE3}" sibTransId="{2ACCB2FC-FB93-4707-80C9-C3CA19776D7F}"/>
    <dgm:cxn modelId="{A0CE210E-0537-4F03-B024-7ACDBC867725}" type="presOf" srcId="{656458C8-620E-424F-BA29-3C94D87C1C12}" destId="{B85C2168-F842-498E-8ECB-28AF220805F6}" srcOrd="0" destOrd="0" presId="urn:microsoft.com/office/officeart/2005/8/layout/arrow2"/>
    <dgm:cxn modelId="{E8E0B429-EF80-4DEC-AE6E-2552503715DE}" type="presOf" srcId="{E25A1D40-A993-4CB8-B5DB-FBEC30ECD49A}" destId="{04BCD35D-9176-4EA2-8C64-FD088386FDEF}" srcOrd="0" destOrd="0" presId="urn:microsoft.com/office/officeart/2005/8/layout/arrow2"/>
    <dgm:cxn modelId="{D053EE6A-EB1A-4833-8DBA-BD8D50E0AFD8}" type="presOf" srcId="{857F0A25-AAA0-4B5D-8135-0848D29AD5EE}" destId="{7C0862F5-C9D0-460F-845D-EC41C6605AFF}" srcOrd="0" destOrd="0" presId="urn:microsoft.com/office/officeart/2005/8/layout/arrow2"/>
    <dgm:cxn modelId="{3E0FCC04-0C11-4993-9834-FA3F38F1318A}" type="presOf" srcId="{EA4ED52C-0B07-471E-BDA5-3DB1AD3F1A2E}" destId="{241DE455-84EC-443A-B076-FFA35B22B34D}" srcOrd="0" destOrd="0" presId="urn:microsoft.com/office/officeart/2005/8/layout/arrow2"/>
    <dgm:cxn modelId="{0930C6AB-61A5-49E4-89AB-1DBB4C8AAF26}" type="presOf" srcId="{DD27FBE4-CAA4-4B5F-A331-0ABCCCB19B35}" destId="{131B3ADB-5427-4272-8FC7-1A46B9B3C0B1}" srcOrd="0" destOrd="0" presId="urn:microsoft.com/office/officeart/2005/8/layout/arrow2"/>
    <dgm:cxn modelId="{D8F6A875-0A92-43CD-9B8E-E593B26131CA}" srcId="{5776D148-4453-4DD8-A270-633E0380B448}" destId="{656458C8-620E-424F-BA29-3C94D87C1C12}" srcOrd="3" destOrd="0" parTransId="{51AF9843-571F-4031-BEC0-B13401A446CB}" sibTransId="{FAA30222-A6AF-4594-8D6A-53A9762C43F5}"/>
    <dgm:cxn modelId="{F2C40DDA-F34D-4921-9371-20143427D627}" srcId="{5776D148-4453-4DD8-A270-633E0380B448}" destId="{E25A1D40-A993-4CB8-B5DB-FBEC30ECD49A}" srcOrd="2" destOrd="0" parTransId="{896F440D-B2C5-41B4-B8F5-72EBB34F829B}" sibTransId="{BA7F0204-9B2C-4CEB-9EBF-9218B8A581FA}"/>
    <dgm:cxn modelId="{18492A12-892F-4348-8BAE-8EFB94581C1B}" type="presOf" srcId="{5776D148-4453-4DD8-A270-633E0380B448}" destId="{578D0FB9-917F-4CC0-A007-411F3F96C931}" srcOrd="0" destOrd="0" presId="urn:microsoft.com/office/officeart/2005/8/layout/arrow2"/>
    <dgm:cxn modelId="{EE4F7F1C-C0DD-451A-83D3-F3995C05FE4F}" srcId="{5776D148-4453-4DD8-A270-633E0380B448}" destId="{DD27FBE4-CAA4-4B5F-A331-0ABCCCB19B35}" srcOrd="0" destOrd="0" parTransId="{AB49AF70-D39B-4B59-85B5-D63C6A2F7771}" sibTransId="{55FA0694-7179-447B-98EC-FE2344BFB7CB}"/>
    <dgm:cxn modelId="{F3ADCCB9-D90E-475C-9561-A25D7793B237}" type="presParOf" srcId="{578D0FB9-917F-4CC0-A007-411F3F96C931}" destId="{17DDBB05-BDFA-4DB2-9F0B-29D3F0C8C000}" srcOrd="0" destOrd="0" presId="urn:microsoft.com/office/officeart/2005/8/layout/arrow2"/>
    <dgm:cxn modelId="{DCAD42AA-E925-4BA5-B188-5350E280A2C0}" type="presParOf" srcId="{578D0FB9-917F-4CC0-A007-411F3F96C931}" destId="{42B39A96-0046-4A1F-8CBE-6AA1D1EF569B}" srcOrd="1" destOrd="0" presId="urn:microsoft.com/office/officeart/2005/8/layout/arrow2"/>
    <dgm:cxn modelId="{7CF7DD1B-FA03-4E76-899C-76CD92C1982A}" type="presParOf" srcId="{42B39A96-0046-4A1F-8CBE-6AA1D1EF569B}" destId="{4D32A8BA-C528-4154-98C2-0C689BA1A28E}" srcOrd="0" destOrd="0" presId="urn:microsoft.com/office/officeart/2005/8/layout/arrow2"/>
    <dgm:cxn modelId="{1C0B45C7-890F-4B76-912A-3490AA33D2A9}" type="presParOf" srcId="{42B39A96-0046-4A1F-8CBE-6AA1D1EF569B}" destId="{131B3ADB-5427-4272-8FC7-1A46B9B3C0B1}" srcOrd="1" destOrd="0" presId="urn:microsoft.com/office/officeart/2005/8/layout/arrow2"/>
    <dgm:cxn modelId="{BA175CB4-D18F-419A-B174-8956CB595990}" type="presParOf" srcId="{42B39A96-0046-4A1F-8CBE-6AA1D1EF569B}" destId="{0FD5FEF3-1EF9-401D-ABE6-F788D845AF40}" srcOrd="2" destOrd="0" presId="urn:microsoft.com/office/officeart/2005/8/layout/arrow2"/>
    <dgm:cxn modelId="{E3D896C1-9865-42A6-9BEE-DB656C9E27C6}" type="presParOf" srcId="{42B39A96-0046-4A1F-8CBE-6AA1D1EF569B}" destId="{241DE455-84EC-443A-B076-FFA35B22B34D}" srcOrd="3" destOrd="0" presId="urn:microsoft.com/office/officeart/2005/8/layout/arrow2"/>
    <dgm:cxn modelId="{0425B06F-6CEF-4FB5-AB3F-A6F999AEAF27}" type="presParOf" srcId="{42B39A96-0046-4A1F-8CBE-6AA1D1EF569B}" destId="{CFF15FAC-5719-4C10-A1A3-E1C25AF45E8F}" srcOrd="4" destOrd="0" presId="urn:microsoft.com/office/officeart/2005/8/layout/arrow2"/>
    <dgm:cxn modelId="{9E70DCD8-B234-45F6-A0C5-9218265C4762}" type="presParOf" srcId="{42B39A96-0046-4A1F-8CBE-6AA1D1EF569B}" destId="{04BCD35D-9176-4EA2-8C64-FD088386FDEF}" srcOrd="5" destOrd="0" presId="urn:microsoft.com/office/officeart/2005/8/layout/arrow2"/>
    <dgm:cxn modelId="{1C601615-60F9-4DA2-AD2E-0B9E2A5A449D}" type="presParOf" srcId="{42B39A96-0046-4A1F-8CBE-6AA1D1EF569B}" destId="{BD6B94A6-E378-4D7E-97EF-20FE2AD6F1D5}" srcOrd="6" destOrd="0" presId="urn:microsoft.com/office/officeart/2005/8/layout/arrow2"/>
    <dgm:cxn modelId="{51EC1E85-814F-4B12-B88B-1C748D73A60E}" type="presParOf" srcId="{42B39A96-0046-4A1F-8CBE-6AA1D1EF569B}" destId="{B85C2168-F842-498E-8ECB-28AF220805F6}" srcOrd="7" destOrd="0" presId="urn:microsoft.com/office/officeart/2005/8/layout/arrow2"/>
    <dgm:cxn modelId="{69371FD8-E699-49F9-B353-9BE208465ADA}" type="presParOf" srcId="{42B39A96-0046-4A1F-8CBE-6AA1D1EF569B}" destId="{8480E726-5250-4A51-84BD-99A36C5B00B3}" srcOrd="8" destOrd="0" presId="urn:microsoft.com/office/officeart/2005/8/layout/arrow2"/>
    <dgm:cxn modelId="{1AF77CE5-1D28-4F8E-A8E4-FD4E1A8B2592}" type="presParOf" srcId="{42B39A96-0046-4A1F-8CBE-6AA1D1EF569B}" destId="{7C0862F5-C9D0-460F-845D-EC41C6605AFF}" srcOrd="9" destOrd="0" presId="urn:microsoft.com/office/officeart/2005/8/layout/arrow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5776D148-4453-4DD8-A270-633E0380B448}" type="doc">
      <dgm:prSet loTypeId="urn:microsoft.com/office/officeart/2005/8/layout/arrow2" loCatId="process" qsTypeId="urn:microsoft.com/office/officeart/2005/8/quickstyle/simple1" qsCatId="simple" csTypeId="urn:microsoft.com/office/officeart/2005/8/colors/accent1_2" csCatId="accent1" phldr="1"/>
      <dgm:spPr/>
    </dgm:pt>
    <dgm:pt modelId="{DD27FBE4-CAA4-4B5F-A331-0ABCCCB19B35}">
      <dgm:prSet phldrT="[Text]" custT="1"/>
      <dgm:spPr/>
      <dgm:t>
        <a:bodyPr/>
        <a:lstStyle/>
        <a:p>
          <a:r>
            <a:rPr lang="hu-HU" sz="2200" smtClean="0">
              <a:latin typeface="+mj-lt"/>
            </a:rPr>
            <a:t>Initial</a:t>
          </a:r>
          <a:endParaRPr lang="en-US" sz="2200">
            <a:latin typeface="+mj-lt"/>
          </a:endParaRPr>
        </a:p>
      </dgm:t>
    </dgm:pt>
    <dgm:pt modelId="{AB49AF70-D39B-4B59-85B5-D63C6A2F7771}" type="parTrans" cxnId="{EE4F7F1C-C0DD-451A-83D3-F3995C05FE4F}">
      <dgm:prSet/>
      <dgm:spPr/>
      <dgm:t>
        <a:bodyPr/>
        <a:lstStyle/>
        <a:p>
          <a:endParaRPr lang="en-US"/>
        </a:p>
      </dgm:t>
    </dgm:pt>
    <dgm:pt modelId="{55FA0694-7179-447B-98EC-FE2344BFB7CB}" type="sibTrans" cxnId="{EE4F7F1C-C0DD-451A-83D3-F3995C05FE4F}">
      <dgm:prSet/>
      <dgm:spPr/>
      <dgm:t>
        <a:bodyPr/>
        <a:lstStyle/>
        <a:p>
          <a:endParaRPr lang="en-US"/>
        </a:p>
      </dgm:t>
    </dgm:pt>
    <dgm:pt modelId="{EA4ED52C-0B07-471E-BDA5-3DB1AD3F1A2E}">
      <dgm:prSet phldrT="[Text]" custT="1"/>
      <dgm:spPr/>
      <dgm:t>
        <a:bodyPr/>
        <a:lstStyle/>
        <a:p>
          <a:pPr algn="l"/>
          <a:r>
            <a:rPr lang="hu-HU" sz="2200" smtClean="0">
              <a:latin typeface="+mj-lt"/>
            </a:rPr>
            <a:t>Established</a:t>
          </a:r>
          <a:endParaRPr lang="en-US" sz="2200">
            <a:latin typeface="+mj-lt"/>
          </a:endParaRPr>
        </a:p>
      </dgm:t>
    </dgm:pt>
    <dgm:pt modelId="{4080C5D4-17BF-4B8B-B65E-257712E45C40}" type="parTrans" cxnId="{8932C705-8ADF-485A-A72A-691889D41B31}">
      <dgm:prSet/>
      <dgm:spPr/>
      <dgm:t>
        <a:bodyPr/>
        <a:lstStyle/>
        <a:p>
          <a:endParaRPr lang="en-US"/>
        </a:p>
      </dgm:t>
    </dgm:pt>
    <dgm:pt modelId="{76327A14-83D8-4681-8DFD-554437A2C4C5}" type="sibTrans" cxnId="{8932C705-8ADF-485A-A72A-691889D41B31}">
      <dgm:prSet/>
      <dgm:spPr/>
      <dgm:t>
        <a:bodyPr/>
        <a:lstStyle/>
        <a:p>
          <a:endParaRPr lang="en-US"/>
        </a:p>
      </dgm:t>
    </dgm:pt>
    <dgm:pt modelId="{E25A1D40-A993-4CB8-B5DB-FBEC30ECD49A}">
      <dgm:prSet phldrT="[Text]" custT="1"/>
      <dgm:spPr/>
      <dgm:t>
        <a:bodyPr/>
        <a:lstStyle/>
        <a:p>
          <a:r>
            <a:rPr lang="hu-HU" sz="2200" smtClean="0">
              <a:latin typeface="+mj-lt"/>
            </a:rPr>
            <a:t>Grown up</a:t>
          </a:r>
          <a:endParaRPr lang="en-US" sz="2200">
            <a:latin typeface="+mj-lt"/>
          </a:endParaRPr>
        </a:p>
      </dgm:t>
    </dgm:pt>
    <dgm:pt modelId="{896F440D-B2C5-41B4-B8F5-72EBB34F829B}" type="parTrans" cxnId="{F2C40DDA-F34D-4921-9371-20143427D627}">
      <dgm:prSet/>
      <dgm:spPr/>
      <dgm:t>
        <a:bodyPr/>
        <a:lstStyle/>
        <a:p>
          <a:endParaRPr lang="en-US"/>
        </a:p>
      </dgm:t>
    </dgm:pt>
    <dgm:pt modelId="{BA7F0204-9B2C-4CEB-9EBF-9218B8A581FA}" type="sibTrans" cxnId="{F2C40DDA-F34D-4921-9371-20143427D627}">
      <dgm:prSet/>
      <dgm:spPr/>
      <dgm:t>
        <a:bodyPr/>
        <a:lstStyle/>
        <a:p>
          <a:endParaRPr lang="en-US"/>
        </a:p>
      </dgm:t>
    </dgm:pt>
    <dgm:pt modelId="{656458C8-620E-424F-BA29-3C94D87C1C12}">
      <dgm:prSet phldrT="[Text]" custT="1"/>
      <dgm:spPr/>
      <dgm:t>
        <a:bodyPr/>
        <a:lstStyle/>
        <a:p>
          <a:endParaRPr lang="en-US" sz="2200">
            <a:latin typeface="+mj-lt"/>
          </a:endParaRPr>
        </a:p>
      </dgm:t>
    </dgm:pt>
    <dgm:pt modelId="{51AF9843-571F-4031-BEC0-B13401A446CB}" type="parTrans" cxnId="{D8F6A875-0A92-43CD-9B8E-E593B26131CA}">
      <dgm:prSet/>
      <dgm:spPr/>
      <dgm:t>
        <a:bodyPr/>
        <a:lstStyle/>
        <a:p>
          <a:endParaRPr lang="en-US"/>
        </a:p>
      </dgm:t>
    </dgm:pt>
    <dgm:pt modelId="{FAA30222-A6AF-4594-8D6A-53A9762C43F5}" type="sibTrans" cxnId="{D8F6A875-0A92-43CD-9B8E-E593B26131CA}">
      <dgm:prSet/>
      <dgm:spPr/>
      <dgm:t>
        <a:bodyPr/>
        <a:lstStyle/>
        <a:p>
          <a:endParaRPr lang="en-US"/>
        </a:p>
      </dgm:t>
    </dgm:pt>
    <dgm:pt modelId="{857F0A25-AAA0-4B5D-8135-0848D29AD5EE}">
      <dgm:prSet phldrT="[Text]" custT="1"/>
      <dgm:spPr/>
      <dgm:t>
        <a:bodyPr/>
        <a:lstStyle/>
        <a:p>
          <a:endParaRPr lang="en-US" sz="2200">
            <a:latin typeface="+mj-lt"/>
          </a:endParaRPr>
        </a:p>
      </dgm:t>
    </dgm:pt>
    <dgm:pt modelId="{897C0D08-84D6-42BE-BFA2-D1F7A2EA4AE3}" type="parTrans" cxnId="{52C51451-E9AF-48FA-A030-AED2EB1610D1}">
      <dgm:prSet/>
      <dgm:spPr/>
      <dgm:t>
        <a:bodyPr/>
        <a:lstStyle/>
        <a:p>
          <a:endParaRPr lang="en-US"/>
        </a:p>
      </dgm:t>
    </dgm:pt>
    <dgm:pt modelId="{2ACCB2FC-FB93-4707-80C9-C3CA19776D7F}" type="sibTrans" cxnId="{52C51451-E9AF-48FA-A030-AED2EB1610D1}">
      <dgm:prSet/>
      <dgm:spPr/>
      <dgm:t>
        <a:bodyPr/>
        <a:lstStyle/>
        <a:p>
          <a:endParaRPr lang="en-US"/>
        </a:p>
      </dgm:t>
    </dgm:pt>
    <dgm:pt modelId="{578D0FB9-917F-4CC0-A007-411F3F96C931}" type="pres">
      <dgm:prSet presAssocID="{5776D148-4453-4DD8-A270-633E0380B448}" presName="arrowDiagram" presStyleCnt="0">
        <dgm:presLayoutVars>
          <dgm:chMax val="5"/>
          <dgm:dir/>
          <dgm:resizeHandles val="exact"/>
        </dgm:presLayoutVars>
      </dgm:prSet>
      <dgm:spPr/>
    </dgm:pt>
    <dgm:pt modelId="{17DDBB05-BDFA-4DB2-9F0B-29D3F0C8C000}" type="pres">
      <dgm:prSet presAssocID="{5776D148-4453-4DD8-A270-633E0380B448}" presName="arrow" presStyleLbl="bgShp" presStyleIdx="0" presStyleCnt="1"/>
      <dgm:spPr>
        <a:gradFill flip="none" rotWithShape="1">
          <a:gsLst>
            <a:gs pos="56000">
              <a:schemeClr val="accent5">
                <a:lumMod val="75000"/>
              </a:schemeClr>
            </a:gs>
            <a:gs pos="0">
              <a:schemeClr val="accent3"/>
            </a:gs>
            <a:gs pos="80000">
              <a:schemeClr val="accent4">
                <a:lumMod val="40000"/>
                <a:lumOff val="60000"/>
              </a:schemeClr>
            </a:gs>
          </a:gsLst>
          <a:lin ang="10800000" scaled="1"/>
          <a:tileRect/>
        </a:gradFill>
      </dgm:spPr>
    </dgm:pt>
    <dgm:pt modelId="{42B39A96-0046-4A1F-8CBE-6AA1D1EF569B}" type="pres">
      <dgm:prSet presAssocID="{5776D148-4453-4DD8-A270-633E0380B448}" presName="arrowDiagram5" presStyleCnt="0"/>
      <dgm:spPr/>
    </dgm:pt>
    <dgm:pt modelId="{4D32A8BA-C528-4154-98C2-0C689BA1A28E}" type="pres">
      <dgm:prSet presAssocID="{DD27FBE4-CAA4-4B5F-A331-0ABCCCB19B35}" presName="bullet5a" presStyleLbl="node1" presStyleIdx="0" presStyleCnt="5"/>
      <dgm:spPr/>
      <dgm:t>
        <a:bodyPr/>
        <a:lstStyle/>
        <a:p>
          <a:endParaRPr lang="en-US"/>
        </a:p>
      </dgm:t>
    </dgm:pt>
    <dgm:pt modelId="{131B3ADB-5427-4272-8FC7-1A46B9B3C0B1}" type="pres">
      <dgm:prSet presAssocID="{DD27FBE4-CAA4-4B5F-A331-0ABCCCB19B35}" presName="textBox5a" presStyleLbl="revTx" presStyleIdx="0" presStyleCnt="5" custScaleX="134123" custScaleY="87580" custLinFactNeighborY="1109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FD5FEF3-1EF9-401D-ABE6-F788D845AF40}" type="pres">
      <dgm:prSet presAssocID="{EA4ED52C-0B07-471E-BDA5-3DB1AD3F1A2E}" presName="bullet5b" presStyleLbl="node1" presStyleIdx="1" presStyleCnt="5"/>
      <dgm:spPr/>
    </dgm:pt>
    <dgm:pt modelId="{241DE455-84EC-443A-B076-FFA35B22B34D}" type="pres">
      <dgm:prSet presAssocID="{EA4ED52C-0B07-471E-BDA5-3DB1AD3F1A2E}" presName="textBox5b" presStyleLbl="revTx" presStyleIdx="1" presStyleCnt="5" custScaleX="149837" custScaleY="8415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FF15FAC-5719-4C10-A1A3-E1C25AF45E8F}" type="pres">
      <dgm:prSet presAssocID="{E25A1D40-A993-4CB8-B5DB-FBEC30ECD49A}" presName="bullet5c" presStyleLbl="node1" presStyleIdx="2" presStyleCnt="5"/>
      <dgm:spPr/>
      <dgm:t>
        <a:bodyPr/>
        <a:lstStyle/>
        <a:p>
          <a:endParaRPr lang="en-US"/>
        </a:p>
      </dgm:t>
    </dgm:pt>
    <dgm:pt modelId="{04BCD35D-9176-4EA2-8C64-FD088386FDEF}" type="pres">
      <dgm:prSet presAssocID="{E25A1D40-A993-4CB8-B5DB-FBEC30ECD49A}" presName="textBox5c" presStyleLbl="revTx" presStyleIdx="2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D6B94A6-E378-4D7E-97EF-20FE2AD6F1D5}" type="pres">
      <dgm:prSet presAssocID="{656458C8-620E-424F-BA29-3C94D87C1C12}" presName="bullet5d" presStyleLbl="node1" presStyleIdx="3" presStyleCnt="5"/>
      <dgm:spPr>
        <a:noFill/>
        <a:ln>
          <a:noFill/>
        </a:ln>
      </dgm:spPr>
    </dgm:pt>
    <dgm:pt modelId="{B85C2168-F842-498E-8ECB-28AF220805F6}" type="pres">
      <dgm:prSet presAssocID="{656458C8-620E-424F-BA29-3C94D87C1C12}" presName="textBox5d" presStyleLbl="revTx" presStyleIdx="3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480E726-5250-4A51-84BD-99A36C5B00B3}" type="pres">
      <dgm:prSet presAssocID="{857F0A25-AAA0-4B5D-8135-0848D29AD5EE}" presName="bullet5e" presStyleLbl="node1" presStyleIdx="4" presStyleCnt="5"/>
      <dgm:spPr>
        <a:noFill/>
        <a:ln>
          <a:noFill/>
        </a:ln>
      </dgm:spPr>
    </dgm:pt>
    <dgm:pt modelId="{7C0862F5-C9D0-460F-845D-EC41C6605AFF}" type="pres">
      <dgm:prSet presAssocID="{857F0A25-AAA0-4B5D-8135-0848D29AD5EE}" presName="textBox5e" presStyleLbl="revTx" presStyleIdx="4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8932C705-8ADF-485A-A72A-691889D41B31}" srcId="{5776D148-4453-4DD8-A270-633E0380B448}" destId="{EA4ED52C-0B07-471E-BDA5-3DB1AD3F1A2E}" srcOrd="1" destOrd="0" parTransId="{4080C5D4-17BF-4B8B-B65E-257712E45C40}" sibTransId="{76327A14-83D8-4681-8DFD-554437A2C4C5}"/>
    <dgm:cxn modelId="{52C51451-E9AF-48FA-A030-AED2EB1610D1}" srcId="{5776D148-4453-4DD8-A270-633E0380B448}" destId="{857F0A25-AAA0-4B5D-8135-0848D29AD5EE}" srcOrd="4" destOrd="0" parTransId="{897C0D08-84D6-42BE-BFA2-D1F7A2EA4AE3}" sibTransId="{2ACCB2FC-FB93-4707-80C9-C3CA19776D7F}"/>
    <dgm:cxn modelId="{48572764-9786-438A-9F5F-939099B5CD16}" type="presOf" srcId="{5776D148-4453-4DD8-A270-633E0380B448}" destId="{578D0FB9-917F-4CC0-A007-411F3F96C931}" srcOrd="0" destOrd="0" presId="urn:microsoft.com/office/officeart/2005/8/layout/arrow2"/>
    <dgm:cxn modelId="{35ECB49C-7848-4BD5-BAE0-72BD28B66C58}" type="presOf" srcId="{DD27FBE4-CAA4-4B5F-A331-0ABCCCB19B35}" destId="{131B3ADB-5427-4272-8FC7-1A46B9B3C0B1}" srcOrd="0" destOrd="0" presId="urn:microsoft.com/office/officeart/2005/8/layout/arrow2"/>
    <dgm:cxn modelId="{3A0F712C-9E69-4CB5-BB9B-4700BE7D18DF}" type="presOf" srcId="{E25A1D40-A993-4CB8-B5DB-FBEC30ECD49A}" destId="{04BCD35D-9176-4EA2-8C64-FD088386FDEF}" srcOrd="0" destOrd="0" presId="urn:microsoft.com/office/officeart/2005/8/layout/arrow2"/>
    <dgm:cxn modelId="{3C322DD9-7C58-4E05-AC47-6AEE32122767}" type="presOf" srcId="{656458C8-620E-424F-BA29-3C94D87C1C12}" destId="{B85C2168-F842-498E-8ECB-28AF220805F6}" srcOrd="0" destOrd="0" presId="urn:microsoft.com/office/officeart/2005/8/layout/arrow2"/>
    <dgm:cxn modelId="{D8F6A875-0A92-43CD-9B8E-E593B26131CA}" srcId="{5776D148-4453-4DD8-A270-633E0380B448}" destId="{656458C8-620E-424F-BA29-3C94D87C1C12}" srcOrd="3" destOrd="0" parTransId="{51AF9843-571F-4031-BEC0-B13401A446CB}" sibTransId="{FAA30222-A6AF-4594-8D6A-53A9762C43F5}"/>
    <dgm:cxn modelId="{F2C40DDA-F34D-4921-9371-20143427D627}" srcId="{5776D148-4453-4DD8-A270-633E0380B448}" destId="{E25A1D40-A993-4CB8-B5DB-FBEC30ECD49A}" srcOrd="2" destOrd="0" parTransId="{896F440D-B2C5-41B4-B8F5-72EBB34F829B}" sibTransId="{BA7F0204-9B2C-4CEB-9EBF-9218B8A581FA}"/>
    <dgm:cxn modelId="{ECB6067E-F2F6-433D-A064-B3167A9B2B7D}" type="presOf" srcId="{EA4ED52C-0B07-471E-BDA5-3DB1AD3F1A2E}" destId="{241DE455-84EC-443A-B076-FFA35B22B34D}" srcOrd="0" destOrd="0" presId="urn:microsoft.com/office/officeart/2005/8/layout/arrow2"/>
    <dgm:cxn modelId="{EE4F7F1C-C0DD-451A-83D3-F3995C05FE4F}" srcId="{5776D148-4453-4DD8-A270-633E0380B448}" destId="{DD27FBE4-CAA4-4B5F-A331-0ABCCCB19B35}" srcOrd="0" destOrd="0" parTransId="{AB49AF70-D39B-4B59-85B5-D63C6A2F7771}" sibTransId="{55FA0694-7179-447B-98EC-FE2344BFB7CB}"/>
    <dgm:cxn modelId="{D5004E59-C2D2-4C06-A53C-F3948C9DAE50}" type="presOf" srcId="{857F0A25-AAA0-4B5D-8135-0848D29AD5EE}" destId="{7C0862F5-C9D0-460F-845D-EC41C6605AFF}" srcOrd="0" destOrd="0" presId="urn:microsoft.com/office/officeart/2005/8/layout/arrow2"/>
    <dgm:cxn modelId="{0CED6E9F-A3B9-4FED-8728-A254BB0623DF}" type="presParOf" srcId="{578D0FB9-917F-4CC0-A007-411F3F96C931}" destId="{17DDBB05-BDFA-4DB2-9F0B-29D3F0C8C000}" srcOrd="0" destOrd="0" presId="urn:microsoft.com/office/officeart/2005/8/layout/arrow2"/>
    <dgm:cxn modelId="{C1C0CFCE-9BFA-4476-9FC5-27202BBA3779}" type="presParOf" srcId="{578D0FB9-917F-4CC0-A007-411F3F96C931}" destId="{42B39A96-0046-4A1F-8CBE-6AA1D1EF569B}" srcOrd="1" destOrd="0" presId="urn:microsoft.com/office/officeart/2005/8/layout/arrow2"/>
    <dgm:cxn modelId="{0A0FC500-6A5E-4F28-B93C-EF4AD149AD0F}" type="presParOf" srcId="{42B39A96-0046-4A1F-8CBE-6AA1D1EF569B}" destId="{4D32A8BA-C528-4154-98C2-0C689BA1A28E}" srcOrd="0" destOrd="0" presId="urn:microsoft.com/office/officeart/2005/8/layout/arrow2"/>
    <dgm:cxn modelId="{E527180A-7D0E-4DA0-ABB9-BE324F79FC84}" type="presParOf" srcId="{42B39A96-0046-4A1F-8CBE-6AA1D1EF569B}" destId="{131B3ADB-5427-4272-8FC7-1A46B9B3C0B1}" srcOrd="1" destOrd="0" presId="urn:microsoft.com/office/officeart/2005/8/layout/arrow2"/>
    <dgm:cxn modelId="{B0C36C6D-8CA3-454F-9CE8-5CD5B42D5557}" type="presParOf" srcId="{42B39A96-0046-4A1F-8CBE-6AA1D1EF569B}" destId="{0FD5FEF3-1EF9-401D-ABE6-F788D845AF40}" srcOrd="2" destOrd="0" presId="urn:microsoft.com/office/officeart/2005/8/layout/arrow2"/>
    <dgm:cxn modelId="{80C8A8BF-92C5-45A3-9138-5EE49EC238C1}" type="presParOf" srcId="{42B39A96-0046-4A1F-8CBE-6AA1D1EF569B}" destId="{241DE455-84EC-443A-B076-FFA35B22B34D}" srcOrd="3" destOrd="0" presId="urn:microsoft.com/office/officeart/2005/8/layout/arrow2"/>
    <dgm:cxn modelId="{B6EB3CCA-9CA6-44FC-A3B0-38402A365E2B}" type="presParOf" srcId="{42B39A96-0046-4A1F-8CBE-6AA1D1EF569B}" destId="{CFF15FAC-5719-4C10-A1A3-E1C25AF45E8F}" srcOrd="4" destOrd="0" presId="urn:microsoft.com/office/officeart/2005/8/layout/arrow2"/>
    <dgm:cxn modelId="{1EA9E7BB-37F4-451F-822F-23BC752D8067}" type="presParOf" srcId="{42B39A96-0046-4A1F-8CBE-6AA1D1EF569B}" destId="{04BCD35D-9176-4EA2-8C64-FD088386FDEF}" srcOrd="5" destOrd="0" presId="urn:microsoft.com/office/officeart/2005/8/layout/arrow2"/>
    <dgm:cxn modelId="{2C728B49-A59E-4E96-9C8F-802262795817}" type="presParOf" srcId="{42B39A96-0046-4A1F-8CBE-6AA1D1EF569B}" destId="{BD6B94A6-E378-4D7E-97EF-20FE2AD6F1D5}" srcOrd="6" destOrd="0" presId="urn:microsoft.com/office/officeart/2005/8/layout/arrow2"/>
    <dgm:cxn modelId="{F73D9EB0-CF9B-4B7B-9FA4-F6ED82929F64}" type="presParOf" srcId="{42B39A96-0046-4A1F-8CBE-6AA1D1EF569B}" destId="{B85C2168-F842-498E-8ECB-28AF220805F6}" srcOrd="7" destOrd="0" presId="urn:microsoft.com/office/officeart/2005/8/layout/arrow2"/>
    <dgm:cxn modelId="{ADC1A185-BE84-4D06-B48A-B7547BB576A1}" type="presParOf" srcId="{42B39A96-0046-4A1F-8CBE-6AA1D1EF569B}" destId="{8480E726-5250-4A51-84BD-99A36C5B00B3}" srcOrd="8" destOrd="0" presId="urn:microsoft.com/office/officeart/2005/8/layout/arrow2"/>
    <dgm:cxn modelId="{290EFDE0-DA49-46D0-BE80-BDA4B2D56115}" type="presParOf" srcId="{42B39A96-0046-4A1F-8CBE-6AA1D1EF569B}" destId="{7C0862F5-C9D0-460F-845D-EC41C6605AFF}" srcOrd="9" destOrd="0" presId="urn:microsoft.com/office/officeart/2005/8/layout/arrow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5776D148-4453-4DD8-A270-633E0380B448}" type="doc">
      <dgm:prSet loTypeId="urn:microsoft.com/office/officeart/2005/8/layout/arrow2" loCatId="process" qsTypeId="urn:microsoft.com/office/officeart/2005/8/quickstyle/simple1" qsCatId="simple" csTypeId="urn:microsoft.com/office/officeart/2005/8/colors/accent1_2" csCatId="accent1" phldr="1"/>
      <dgm:spPr/>
    </dgm:pt>
    <dgm:pt modelId="{DD27FBE4-CAA4-4B5F-A331-0ABCCCB19B35}">
      <dgm:prSet phldrT="[Text]" custT="1"/>
      <dgm:spPr/>
      <dgm:t>
        <a:bodyPr/>
        <a:lstStyle/>
        <a:p>
          <a:r>
            <a:rPr lang="hu-HU" sz="2200" smtClean="0">
              <a:latin typeface="+mj-lt"/>
            </a:rPr>
            <a:t>Initial</a:t>
          </a:r>
          <a:endParaRPr lang="en-US" sz="2200">
            <a:latin typeface="+mj-lt"/>
          </a:endParaRPr>
        </a:p>
      </dgm:t>
    </dgm:pt>
    <dgm:pt modelId="{AB49AF70-D39B-4B59-85B5-D63C6A2F7771}" type="parTrans" cxnId="{EE4F7F1C-C0DD-451A-83D3-F3995C05FE4F}">
      <dgm:prSet/>
      <dgm:spPr/>
      <dgm:t>
        <a:bodyPr/>
        <a:lstStyle/>
        <a:p>
          <a:endParaRPr lang="en-US"/>
        </a:p>
      </dgm:t>
    </dgm:pt>
    <dgm:pt modelId="{55FA0694-7179-447B-98EC-FE2344BFB7CB}" type="sibTrans" cxnId="{EE4F7F1C-C0DD-451A-83D3-F3995C05FE4F}">
      <dgm:prSet/>
      <dgm:spPr/>
      <dgm:t>
        <a:bodyPr/>
        <a:lstStyle/>
        <a:p>
          <a:endParaRPr lang="en-US"/>
        </a:p>
      </dgm:t>
    </dgm:pt>
    <dgm:pt modelId="{EA4ED52C-0B07-471E-BDA5-3DB1AD3F1A2E}">
      <dgm:prSet phldrT="[Text]" custT="1"/>
      <dgm:spPr/>
      <dgm:t>
        <a:bodyPr/>
        <a:lstStyle/>
        <a:p>
          <a:pPr algn="l"/>
          <a:r>
            <a:rPr lang="hu-HU" sz="2200" smtClean="0">
              <a:latin typeface="+mj-lt"/>
            </a:rPr>
            <a:t>Established</a:t>
          </a:r>
          <a:endParaRPr lang="en-US" sz="2200">
            <a:latin typeface="+mj-lt"/>
          </a:endParaRPr>
        </a:p>
      </dgm:t>
    </dgm:pt>
    <dgm:pt modelId="{4080C5D4-17BF-4B8B-B65E-257712E45C40}" type="parTrans" cxnId="{8932C705-8ADF-485A-A72A-691889D41B31}">
      <dgm:prSet/>
      <dgm:spPr/>
      <dgm:t>
        <a:bodyPr/>
        <a:lstStyle/>
        <a:p>
          <a:endParaRPr lang="en-US"/>
        </a:p>
      </dgm:t>
    </dgm:pt>
    <dgm:pt modelId="{76327A14-83D8-4681-8DFD-554437A2C4C5}" type="sibTrans" cxnId="{8932C705-8ADF-485A-A72A-691889D41B31}">
      <dgm:prSet/>
      <dgm:spPr/>
      <dgm:t>
        <a:bodyPr/>
        <a:lstStyle/>
        <a:p>
          <a:endParaRPr lang="en-US"/>
        </a:p>
      </dgm:t>
    </dgm:pt>
    <dgm:pt modelId="{E25A1D40-A993-4CB8-B5DB-FBEC30ECD49A}">
      <dgm:prSet phldrT="[Text]" custT="1"/>
      <dgm:spPr/>
      <dgm:t>
        <a:bodyPr/>
        <a:lstStyle/>
        <a:p>
          <a:r>
            <a:rPr lang="hu-HU" sz="2200" smtClean="0">
              <a:latin typeface="+mj-lt"/>
            </a:rPr>
            <a:t>Grown up</a:t>
          </a:r>
          <a:endParaRPr lang="en-US" sz="2200">
            <a:latin typeface="+mj-lt"/>
          </a:endParaRPr>
        </a:p>
      </dgm:t>
    </dgm:pt>
    <dgm:pt modelId="{896F440D-B2C5-41B4-B8F5-72EBB34F829B}" type="parTrans" cxnId="{F2C40DDA-F34D-4921-9371-20143427D627}">
      <dgm:prSet/>
      <dgm:spPr/>
      <dgm:t>
        <a:bodyPr/>
        <a:lstStyle/>
        <a:p>
          <a:endParaRPr lang="en-US"/>
        </a:p>
      </dgm:t>
    </dgm:pt>
    <dgm:pt modelId="{BA7F0204-9B2C-4CEB-9EBF-9218B8A581FA}" type="sibTrans" cxnId="{F2C40DDA-F34D-4921-9371-20143427D627}">
      <dgm:prSet/>
      <dgm:spPr/>
      <dgm:t>
        <a:bodyPr/>
        <a:lstStyle/>
        <a:p>
          <a:endParaRPr lang="en-US"/>
        </a:p>
      </dgm:t>
    </dgm:pt>
    <dgm:pt modelId="{656458C8-620E-424F-BA29-3C94D87C1C12}">
      <dgm:prSet phldrT="[Text]" custT="1"/>
      <dgm:spPr/>
      <dgm:t>
        <a:bodyPr/>
        <a:lstStyle/>
        <a:p>
          <a:r>
            <a:rPr lang="hu-HU" sz="2200" smtClean="0">
              <a:latin typeface="+mj-lt"/>
            </a:rPr>
            <a:t>Mature</a:t>
          </a:r>
          <a:endParaRPr lang="en-US" sz="2200">
            <a:latin typeface="+mj-lt"/>
          </a:endParaRPr>
        </a:p>
      </dgm:t>
    </dgm:pt>
    <dgm:pt modelId="{51AF9843-571F-4031-BEC0-B13401A446CB}" type="parTrans" cxnId="{D8F6A875-0A92-43CD-9B8E-E593B26131CA}">
      <dgm:prSet/>
      <dgm:spPr/>
      <dgm:t>
        <a:bodyPr/>
        <a:lstStyle/>
        <a:p>
          <a:endParaRPr lang="en-US"/>
        </a:p>
      </dgm:t>
    </dgm:pt>
    <dgm:pt modelId="{FAA30222-A6AF-4594-8D6A-53A9762C43F5}" type="sibTrans" cxnId="{D8F6A875-0A92-43CD-9B8E-E593B26131CA}">
      <dgm:prSet/>
      <dgm:spPr/>
      <dgm:t>
        <a:bodyPr/>
        <a:lstStyle/>
        <a:p>
          <a:endParaRPr lang="en-US"/>
        </a:p>
      </dgm:t>
    </dgm:pt>
    <dgm:pt modelId="{857F0A25-AAA0-4B5D-8135-0848D29AD5EE}">
      <dgm:prSet phldrT="[Text]" custT="1"/>
      <dgm:spPr/>
      <dgm:t>
        <a:bodyPr/>
        <a:lstStyle/>
        <a:p>
          <a:endParaRPr lang="en-US" sz="2200">
            <a:latin typeface="+mj-lt"/>
          </a:endParaRPr>
        </a:p>
      </dgm:t>
    </dgm:pt>
    <dgm:pt modelId="{897C0D08-84D6-42BE-BFA2-D1F7A2EA4AE3}" type="parTrans" cxnId="{52C51451-E9AF-48FA-A030-AED2EB1610D1}">
      <dgm:prSet/>
      <dgm:spPr/>
      <dgm:t>
        <a:bodyPr/>
        <a:lstStyle/>
        <a:p>
          <a:endParaRPr lang="en-US"/>
        </a:p>
      </dgm:t>
    </dgm:pt>
    <dgm:pt modelId="{2ACCB2FC-FB93-4707-80C9-C3CA19776D7F}" type="sibTrans" cxnId="{52C51451-E9AF-48FA-A030-AED2EB1610D1}">
      <dgm:prSet/>
      <dgm:spPr/>
      <dgm:t>
        <a:bodyPr/>
        <a:lstStyle/>
        <a:p>
          <a:endParaRPr lang="en-US"/>
        </a:p>
      </dgm:t>
    </dgm:pt>
    <dgm:pt modelId="{578D0FB9-917F-4CC0-A007-411F3F96C931}" type="pres">
      <dgm:prSet presAssocID="{5776D148-4453-4DD8-A270-633E0380B448}" presName="arrowDiagram" presStyleCnt="0">
        <dgm:presLayoutVars>
          <dgm:chMax val="5"/>
          <dgm:dir/>
          <dgm:resizeHandles val="exact"/>
        </dgm:presLayoutVars>
      </dgm:prSet>
      <dgm:spPr/>
    </dgm:pt>
    <dgm:pt modelId="{17DDBB05-BDFA-4DB2-9F0B-29D3F0C8C000}" type="pres">
      <dgm:prSet presAssocID="{5776D148-4453-4DD8-A270-633E0380B448}" presName="arrow" presStyleLbl="bgShp" presStyleIdx="0" presStyleCnt="1"/>
      <dgm:spPr>
        <a:gradFill flip="none" rotWithShape="1">
          <a:gsLst>
            <a:gs pos="56000">
              <a:schemeClr val="accent5">
                <a:lumMod val="75000"/>
              </a:schemeClr>
            </a:gs>
            <a:gs pos="0">
              <a:schemeClr val="accent3"/>
            </a:gs>
            <a:gs pos="80000">
              <a:schemeClr val="accent4">
                <a:lumMod val="40000"/>
                <a:lumOff val="60000"/>
              </a:schemeClr>
            </a:gs>
          </a:gsLst>
          <a:lin ang="10800000" scaled="1"/>
          <a:tileRect/>
        </a:gradFill>
      </dgm:spPr>
    </dgm:pt>
    <dgm:pt modelId="{42B39A96-0046-4A1F-8CBE-6AA1D1EF569B}" type="pres">
      <dgm:prSet presAssocID="{5776D148-4453-4DD8-A270-633E0380B448}" presName="arrowDiagram5" presStyleCnt="0"/>
      <dgm:spPr/>
    </dgm:pt>
    <dgm:pt modelId="{4D32A8BA-C528-4154-98C2-0C689BA1A28E}" type="pres">
      <dgm:prSet presAssocID="{DD27FBE4-CAA4-4B5F-A331-0ABCCCB19B35}" presName="bullet5a" presStyleLbl="node1" presStyleIdx="0" presStyleCnt="5"/>
      <dgm:spPr/>
      <dgm:t>
        <a:bodyPr/>
        <a:lstStyle/>
        <a:p>
          <a:endParaRPr lang="en-US"/>
        </a:p>
      </dgm:t>
    </dgm:pt>
    <dgm:pt modelId="{131B3ADB-5427-4272-8FC7-1A46B9B3C0B1}" type="pres">
      <dgm:prSet presAssocID="{DD27FBE4-CAA4-4B5F-A331-0ABCCCB19B35}" presName="textBox5a" presStyleLbl="revTx" presStyleIdx="0" presStyleCnt="5" custScaleX="134123" custScaleY="87580" custLinFactNeighborY="1109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FD5FEF3-1EF9-401D-ABE6-F788D845AF40}" type="pres">
      <dgm:prSet presAssocID="{EA4ED52C-0B07-471E-BDA5-3DB1AD3F1A2E}" presName="bullet5b" presStyleLbl="node1" presStyleIdx="1" presStyleCnt="5"/>
      <dgm:spPr/>
    </dgm:pt>
    <dgm:pt modelId="{241DE455-84EC-443A-B076-FFA35B22B34D}" type="pres">
      <dgm:prSet presAssocID="{EA4ED52C-0B07-471E-BDA5-3DB1AD3F1A2E}" presName="textBox5b" presStyleLbl="revTx" presStyleIdx="1" presStyleCnt="5" custScaleX="149837" custScaleY="8415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FF15FAC-5719-4C10-A1A3-E1C25AF45E8F}" type="pres">
      <dgm:prSet presAssocID="{E25A1D40-A993-4CB8-B5DB-FBEC30ECD49A}" presName="bullet5c" presStyleLbl="node1" presStyleIdx="2" presStyleCnt="5"/>
      <dgm:spPr/>
      <dgm:t>
        <a:bodyPr/>
        <a:lstStyle/>
        <a:p>
          <a:endParaRPr lang="en-US"/>
        </a:p>
      </dgm:t>
    </dgm:pt>
    <dgm:pt modelId="{04BCD35D-9176-4EA2-8C64-FD088386FDEF}" type="pres">
      <dgm:prSet presAssocID="{E25A1D40-A993-4CB8-B5DB-FBEC30ECD49A}" presName="textBox5c" presStyleLbl="revTx" presStyleIdx="2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D6B94A6-E378-4D7E-97EF-20FE2AD6F1D5}" type="pres">
      <dgm:prSet presAssocID="{656458C8-620E-424F-BA29-3C94D87C1C12}" presName="bullet5d" presStyleLbl="node1" presStyleIdx="3" presStyleCnt="5"/>
      <dgm:spPr/>
    </dgm:pt>
    <dgm:pt modelId="{B85C2168-F842-498E-8ECB-28AF220805F6}" type="pres">
      <dgm:prSet presAssocID="{656458C8-620E-424F-BA29-3C94D87C1C12}" presName="textBox5d" presStyleLbl="revTx" presStyleIdx="3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480E726-5250-4A51-84BD-99A36C5B00B3}" type="pres">
      <dgm:prSet presAssocID="{857F0A25-AAA0-4B5D-8135-0848D29AD5EE}" presName="bullet5e" presStyleLbl="node1" presStyleIdx="4" presStyleCnt="5"/>
      <dgm:spPr>
        <a:noFill/>
        <a:ln>
          <a:noFill/>
        </a:ln>
      </dgm:spPr>
    </dgm:pt>
    <dgm:pt modelId="{7C0862F5-C9D0-460F-845D-EC41C6605AFF}" type="pres">
      <dgm:prSet presAssocID="{857F0A25-AAA0-4B5D-8135-0848D29AD5EE}" presName="textBox5e" presStyleLbl="revTx" presStyleIdx="4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6242143A-AB8F-49F0-A19E-7000E5F79649}" type="presOf" srcId="{5776D148-4453-4DD8-A270-633E0380B448}" destId="{578D0FB9-917F-4CC0-A007-411F3F96C931}" srcOrd="0" destOrd="0" presId="urn:microsoft.com/office/officeart/2005/8/layout/arrow2"/>
    <dgm:cxn modelId="{66B77DA1-1CFF-4AF2-B31A-D0E6D85556F5}" type="presOf" srcId="{857F0A25-AAA0-4B5D-8135-0848D29AD5EE}" destId="{7C0862F5-C9D0-460F-845D-EC41C6605AFF}" srcOrd="0" destOrd="0" presId="urn:microsoft.com/office/officeart/2005/8/layout/arrow2"/>
    <dgm:cxn modelId="{D8F6A875-0A92-43CD-9B8E-E593B26131CA}" srcId="{5776D148-4453-4DD8-A270-633E0380B448}" destId="{656458C8-620E-424F-BA29-3C94D87C1C12}" srcOrd="3" destOrd="0" parTransId="{51AF9843-571F-4031-BEC0-B13401A446CB}" sibTransId="{FAA30222-A6AF-4594-8D6A-53A9762C43F5}"/>
    <dgm:cxn modelId="{F2C40DDA-F34D-4921-9371-20143427D627}" srcId="{5776D148-4453-4DD8-A270-633E0380B448}" destId="{E25A1D40-A993-4CB8-B5DB-FBEC30ECD49A}" srcOrd="2" destOrd="0" parTransId="{896F440D-B2C5-41B4-B8F5-72EBB34F829B}" sibTransId="{BA7F0204-9B2C-4CEB-9EBF-9218B8A581FA}"/>
    <dgm:cxn modelId="{EE4F7F1C-C0DD-451A-83D3-F3995C05FE4F}" srcId="{5776D148-4453-4DD8-A270-633E0380B448}" destId="{DD27FBE4-CAA4-4B5F-A331-0ABCCCB19B35}" srcOrd="0" destOrd="0" parTransId="{AB49AF70-D39B-4B59-85B5-D63C6A2F7771}" sibTransId="{55FA0694-7179-447B-98EC-FE2344BFB7CB}"/>
    <dgm:cxn modelId="{E74A4889-0405-4BCF-9963-629758BDF599}" type="presOf" srcId="{DD27FBE4-CAA4-4B5F-A331-0ABCCCB19B35}" destId="{131B3ADB-5427-4272-8FC7-1A46B9B3C0B1}" srcOrd="0" destOrd="0" presId="urn:microsoft.com/office/officeart/2005/8/layout/arrow2"/>
    <dgm:cxn modelId="{8932C705-8ADF-485A-A72A-691889D41B31}" srcId="{5776D148-4453-4DD8-A270-633E0380B448}" destId="{EA4ED52C-0B07-471E-BDA5-3DB1AD3F1A2E}" srcOrd="1" destOrd="0" parTransId="{4080C5D4-17BF-4B8B-B65E-257712E45C40}" sibTransId="{76327A14-83D8-4681-8DFD-554437A2C4C5}"/>
    <dgm:cxn modelId="{D7AC52AF-2509-48CB-988B-D0F27D40FA8A}" type="presOf" srcId="{EA4ED52C-0B07-471E-BDA5-3DB1AD3F1A2E}" destId="{241DE455-84EC-443A-B076-FFA35B22B34D}" srcOrd="0" destOrd="0" presId="urn:microsoft.com/office/officeart/2005/8/layout/arrow2"/>
    <dgm:cxn modelId="{52C51451-E9AF-48FA-A030-AED2EB1610D1}" srcId="{5776D148-4453-4DD8-A270-633E0380B448}" destId="{857F0A25-AAA0-4B5D-8135-0848D29AD5EE}" srcOrd="4" destOrd="0" parTransId="{897C0D08-84D6-42BE-BFA2-D1F7A2EA4AE3}" sibTransId="{2ACCB2FC-FB93-4707-80C9-C3CA19776D7F}"/>
    <dgm:cxn modelId="{28AF2A2C-B28C-4064-82E2-B0B54A113A59}" type="presOf" srcId="{E25A1D40-A993-4CB8-B5DB-FBEC30ECD49A}" destId="{04BCD35D-9176-4EA2-8C64-FD088386FDEF}" srcOrd="0" destOrd="0" presId="urn:microsoft.com/office/officeart/2005/8/layout/arrow2"/>
    <dgm:cxn modelId="{A6301EB2-0625-447D-9CC0-26CCFDF03D0F}" type="presOf" srcId="{656458C8-620E-424F-BA29-3C94D87C1C12}" destId="{B85C2168-F842-498E-8ECB-28AF220805F6}" srcOrd="0" destOrd="0" presId="urn:microsoft.com/office/officeart/2005/8/layout/arrow2"/>
    <dgm:cxn modelId="{5FE6ED9A-9BAD-4659-914B-97242C4B676B}" type="presParOf" srcId="{578D0FB9-917F-4CC0-A007-411F3F96C931}" destId="{17DDBB05-BDFA-4DB2-9F0B-29D3F0C8C000}" srcOrd="0" destOrd="0" presId="urn:microsoft.com/office/officeart/2005/8/layout/arrow2"/>
    <dgm:cxn modelId="{90EFB696-7BDF-4894-B7A5-D645DCCA4605}" type="presParOf" srcId="{578D0FB9-917F-4CC0-A007-411F3F96C931}" destId="{42B39A96-0046-4A1F-8CBE-6AA1D1EF569B}" srcOrd="1" destOrd="0" presId="urn:microsoft.com/office/officeart/2005/8/layout/arrow2"/>
    <dgm:cxn modelId="{86A7D9EB-7AA6-412A-83A8-41D622544CBC}" type="presParOf" srcId="{42B39A96-0046-4A1F-8CBE-6AA1D1EF569B}" destId="{4D32A8BA-C528-4154-98C2-0C689BA1A28E}" srcOrd="0" destOrd="0" presId="urn:microsoft.com/office/officeart/2005/8/layout/arrow2"/>
    <dgm:cxn modelId="{324B6F38-6FC7-43C8-9183-8796FDF2F82F}" type="presParOf" srcId="{42B39A96-0046-4A1F-8CBE-6AA1D1EF569B}" destId="{131B3ADB-5427-4272-8FC7-1A46B9B3C0B1}" srcOrd="1" destOrd="0" presId="urn:microsoft.com/office/officeart/2005/8/layout/arrow2"/>
    <dgm:cxn modelId="{768042E5-3B3D-447B-A309-5DF7245ED76F}" type="presParOf" srcId="{42B39A96-0046-4A1F-8CBE-6AA1D1EF569B}" destId="{0FD5FEF3-1EF9-401D-ABE6-F788D845AF40}" srcOrd="2" destOrd="0" presId="urn:microsoft.com/office/officeart/2005/8/layout/arrow2"/>
    <dgm:cxn modelId="{96D8C8B1-D9DA-4771-BEA8-1DBEB0900661}" type="presParOf" srcId="{42B39A96-0046-4A1F-8CBE-6AA1D1EF569B}" destId="{241DE455-84EC-443A-B076-FFA35B22B34D}" srcOrd="3" destOrd="0" presId="urn:microsoft.com/office/officeart/2005/8/layout/arrow2"/>
    <dgm:cxn modelId="{778FCA9B-D5EF-49EF-9785-17C0BDE3AB41}" type="presParOf" srcId="{42B39A96-0046-4A1F-8CBE-6AA1D1EF569B}" destId="{CFF15FAC-5719-4C10-A1A3-E1C25AF45E8F}" srcOrd="4" destOrd="0" presId="urn:microsoft.com/office/officeart/2005/8/layout/arrow2"/>
    <dgm:cxn modelId="{62B2F8AA-E1DD-44C8-AF18-399BA8C80456}" type="presParOf" srcId="{42B39A96-0046-4A1F-8CBE-6AA1D1EF569B}" destId="{04BCD35D-9176-4EA2-8C64-FD088386FDEF}" srcOrd="5" destOrd="0" presId="urn:microsoft.com/office/officeart/2005/8/layout/arrow2"/>
    <dgm:cxn modelId="{D5EC30CF-AEB1-4F8E-A721-3F7670260C1B}" type="presParOf" srcId="{42B39A96-0046-4A1F-8CBE-6AA1D1EF569B}" destId="{BD6B94A6-E378-4D7E-97EF-20FE2AD6F1D5}" srcOrd="6" destOrd="0" presId="urn:microsoft.com/office/officeart/2005/8/layout/arrow2"/>
    <dgm:cxn modelId="{D6125499-D2B8-4B9B-B889-9A63CFDC195B}" type="presParOf" srcId="{42B39A96-0046-4A1F-8CBE-6AA1D1EF569B}" destId="{B85C2168-F842-498E-8ECB-28AF220805F6}" srcOrd="7" destOrd="0" presId="urn:microsoft.com/office/officeart/2005/8/layout/arrow2"/>
    <dgm:cxn modelId="{6BA10DB8-8875-4007-A525-B5911B067914}" type="presParOf" srcId="{42B39A96-0046-4A1F-8CBE-6AA1D1EF569B}" destId="{8480E726-5250-4A51-84BD-99A36C5B00B3}" srcOrd="8" destOrd="0" presId="urn:microsoft.com/office/officeart/2005/8/layout/arrow2"/>
    <dgm:cxn modelId="{46F0E9B4-1622-499A-90B8-94407E7D7090}" type="presParOf" srcId="{42B39A96-0046-4A1F-8CBE-6AA1D1EF569B}" destId="{7C0862F5-C9D0-460F-845D-EC41C6605AFF}" srcOrd="9" destOrd="0" presId="urn:microsoft.com/office/officeart/2005/8/layout/arrow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5776D148-4453-4DD8-A270-633E0380B448}" type="doc">
      <dgm:prSet loTypeId="urn:microsoft.com/office/officeart/2005/8/layout/arrow2" loCatId="process" qsTypeId="urn:microsoft.com/office/officeart/2005/8/quickstyle/simple1" qsCatId="simple" csTypeId="urn:microsoft.com/office/officeart/2005/8/colors/accent1_2" csCatId="accent1" phldr="1"/>
      <dgm:spPr/>
    </dgm:pt>
    <dgm:pt modelId="{DD27FBE4-CAA4-4B5F-A331-0ABCCCB19B35}">
      <dgm:prSet phldrT="[Text]" custT="1"/>
      <dgm:spPr/>
      <dgm:t>
        <a:bodyPr/>
        <a:lstStyle/>
        <a:p>
          <a:r>
            <a:rPr lang="hu-HU" sz="2200" smtClean="0">
              <a:latin typeface="+mj-lt"/>
            </a:rPr>
            <a:t>Initial</a:t>
          </a:r>
          <a:endParaRPr lang="en-US" sz="2200">
            <a:latin typeface="+mj-lt"/>
          </a:endParaRPr>
        </a:p>
      </dgm:t>
    </dgm:pt>
    <dgm:pt modelId="{AB49AF70-D39B-4B59-85B5-D63C6A2F7771}" type="parTrans" cxnId="{EE4F7F1C-C0DD-451A-83D3-F3995C05FE4F}">
      <dgm:prSet/>
      <dgm:spPr/>
      <dgm:t>
        <a:bodyPr/>
        <a:lstStyle/>
        <a:p>
          <a:endParaRPr lang="en-US"/>
        </a:p>
      </dgm:t>
    </dgm:pt>
    <dgm:pt modelId="{55FA0694-7179-447B-98EC-FE2344BFB7CB}" type="sibTrans" cxnId="{EE4F7F1C-C0DD-451A-83D3-F3995C05FE4F}">
      <dgm:prSet/>
      <dgm:spPr/>
      <dgm:t>
        <a:bodyPr/>
        <a:lstStyle/>
        <a:p>
          <a:endParaRPr lang="en-US"/>
        </a:p>
      </dgm:t>
    </dgm:pt>
    <dgm:pt modelId="{EA4ED52C-0B07-471E-BDA5-3DB1AD3F1A2E}">
      <dgm:prSet phldrT="[Text]" custT="1"/>
      <dgm:spPr/>
      <dgm:t>
        <a:bodyPr/>
        <a:lstStyle/>
        <a:p>
          <a:pPr algn="l"/>
          <a:r>
            <a:rPr lang="hu-HU" sz="2200" smtClean="0">
              <a:latin typeface="+mj-lt"/>
            </a:rPr>
            <a:t>Established</a:t>
          </a:r>
          <a:endParaRPr lang="en-US" sz="2200">
            <a:latin typeface="+mj-lt"/>
          </a:endParaRPr>
        </a:p>
      </dgm:t>
    </dgm:pt>
    <dgm:pt modelId="{4080C5D4-17BF-4B8B-B65E-257712E45C40}" type="parTrans" cxnId="{8932C705-8ADF-485A-A72A-691889D41B31}">
      <dgm:prSet/>
      <dgm:spPr/>
      <dgm:t>
        <a:bodyPr/>
        <a:lstStyle/>
        <a:p>
          <a:endParaRPr lang="en-US"/>
        </a:p>
      </dgm:t>
    </dgm:pt>
    <dgm:pt modelId="{76327A14-83D8-4681-8DFD-554437A2C4C5}" type="sibTrans" cxnId="{8932C705-8ADF-485A-A72A-691889D41B31}">
      <dgm:prSet/>
      <dgm:spPr/>
      <dgm:t>
        <a:bodyPr/>
        <a:lstStyle/>
        <a:p>
          <a:endParaRPr lang="en-US"/>
        </a:p>
      </dgm:t>
    </dgm:pt>
    <dgm:pt modelId="{E25A1D40-A993-4CB8-B5DB-FBEC30ECD49A}">
      <dgm:prSet phldrT="[Text]" custT="1"/>
      <dgm:spPr/>
      <dgm:t>
        <a:bodyPr/>
        <a:lstStyle/>
        <a:p>
          <a:r>
            <a:rPr lang="hu-HU" sz="2200" smtClean="0">
              <a:latin typeface="+mj-lt"/>
            </a:rPr>
            <a:t>Grown up</a:t>
          </a:r>
          <a:endParaRPr lang="en-US" sz="2200">
            <a:latin typeface="+mj-lt"/>
          </a:endParaRPr>
        </a:p>
      </dgm:t>
    </dgm:pt>
    <dgm:pt modelId="{896F440D-B2C5-41B4-B8F5-72EBB34F829B}" type="parTrans" cxnId="{F2C40DDA-F34D-4921-9371-20143427D627}">
      <dgm:prSet/>
      <dgm:spPr/>
      <dgm:t>
        <a:bodyPr/>
        <a:lstStyle/>
        <a:p>
          <a:endParaRPr lang="en-US"/>
        </a:p>
      </dgm:t>
    </dgm:pt>
    <dgm:pt modelId="{BA7F0204-9B2C-4CEB-9EBF-9218B8A581FA}" type="sibTrans" cxnId="{F2C40DDA-F34D-4921-9371-20143427D627}">
      <dgm:prSet/>
      <dgm:spPr/>
      <dgm:t>
        <a:bodyPr/>
        <a:lstStyle/>
        <a:p>
          <a:endParaRPr lang="en-US"/>
        </a:p>
      </dgm:t>
    </dgm:pt>
    <dgm:pt modelId="{656458C8-620E-424F-BA29-3C94D87C1C12}">
      <dgm:prSet phldrT="[Text]" custT="1"/>
      <dgm:spPr/>
      <dgm:t>
        <a:bodyPr/>
        <a:lstStyle/>
        <a:p>
          <a:r>
            <a:rPr lang="hu-HU" sz="2200" smtClean="0">
              <a:latin typeface="+mj-lt"/>
            </a:rPr>
            <a:t>Mature</a:t>
          </a:r>
          <a:endParaRPr lang="en-US" sz="2200">
            <a:latin typeface="+mj-lt"/>
          </a:endParaRPr>
        </a:p>
      </dgm:t>
    </dgm:pt>
    <dgm:pt modelId="{51AF9843-571F-4031-BEC0-B13401A446CB}" type="parTrans" cxnId="{D8F6A875-0A92-43CD-9B8E-E593B26131CA}">
      <dgm:prSet/>
      <dgm:spPr/>
      <dgm:t>
        <a:bodyPr/>
        <a:lstStyle/>
        <a:p>
          <a:endParaRPr lang="en-US"/>
        </a:p>
      </dgm:t>
    </dgm:pt>
    <dgm:pt modelId="{FAA30222-A6AF-4594-8D6A-53A9762C43F5}" type="sibTrans" cxnId="{D8F6A875-0A92-43CD-9B8E-E593B26131CA}">
      <dgm:prSet/>
      <dgm:spPr/>
      <dgm:t>
        <a:bodyPr/>
        <a:lstStyle/>
        <a:p>
          <a:endParaRPr lang="en-US"/>
        </a:p>
      </dgm:t>
    </dgm:pt>
    <dgm:pt modelId="{857F0A25-AAA0-4B5D-8135-0848D29AD5EE}">
      <dgm:prSet phldrT="[Text]" custT="1"/>
      <dgm:spPr/>
      <dgm:t>
        <a:bodyPr/>
        <a:lstStyle/>
        <a:p>
          <a:r>
            <a:rPr lang="hu-HU" sz="2200" smtClean="0">
              <a:latin typeface="+mj-lt"/>
            </a:rPr>
            <a:t>Best in class</a:t>
          </a:r>
          <a:endParaRPr lang="en-US" sz="2200">
            <a:latin typeface="+mj-lt"/>
          </a:endParaRPr>
        </a:p>
      </dgm:t>
    </dgm:pt>
    <dgm:pt modelId="{897C0D08-84D6-42BE-BFA2-D1F7A2EA4AE3}" type="parTrans" cxnId="{52C51451-E9AF-48FA-A030-AED2EB1610D1}">
      <dgm:prSet/>
      <dgm:spPr/>
      <dgm:t>
        <a:bodyPr/>
        <a:lstStyle/>
        <a:p>
          <a:endParaRPr lang="en-US"/>
        </a:p>
      </dgm:t>
    </dgm:pt>
    <dgm:pt modelId="{2ACCB2FC-FB93-4707-80C9-C3CA19776D7F}" type="sibTrans" cxnId="{52C51451-E9AF-48FA-A030-AED2EB1610D1}">
      <dgm:prSet/>
      <dgm:spPr/>
      <dgm:t>
        <a:bodyPr/>
        <a:lstStyle/>
        <a:p>
          <a:endParaRPr lang="en-US"/>
        </a:p>
      </dgm:t>
    </dgm:pt>
    <dgm:pt modelId="{578D0FB9-917F-4CC0-A007-411F3F96C931}" type="pres">
      <dgm:prSet presAssocID="{5776D148-4453-4DD8-A270-633E0380B448}" presName="arrowDiagram" presStyleCnt="0">
        <dgm:presLayoutVars>
          <dgm:chMax val="5"/>
          <dgm:dir/>
          <dgm:resizeHandles val="exact"/>
        </dgm:presLayoutVars>
      </dgm:prSet>
      <dgm:spPr/>
    </dgm:pt>
    <dgm:pt modelId="{17DDBB05-BDFA-4DB2-9F0B-29D3F0C8C000}" type="pres">
      <dgm:prSet presAssocID="{5776D148-4453-4DD8-A270-633E0380B448}" presName="arrow" presStyleLbl="bgShp" presStyleIdx="0" presStyleCnt="1"/>
      <dgm:spPr>
        <a:gradFill flip="none" rotWithShape="1">
          <a:gsLst>
            <a:gs pos="56000">
              <a:schemeClr val="accent5">
                <a:lumMod val="75000"/>
              </a:schemeClr>
            </a:gs>
            <a:gs pos="0">
              <a:schemeClr val="accent3"/>
            </a:gs>
            <a:gs pos="80000">
              <a:schemeClr val="accent4">
                <a:lumMod val="40000"/>
                <a:lumOff val="60000"/>
              </a:schemeClr>
            </a:gs>
          </a:gsLst>
          <a:lin ang="10800000" scaled="1"/>
          <a:tileRect/>
        </a:gradFill>
      </dgm:spPr>
    </dgm:pt>
    <dgm:pt modelId="{42B39A96-0046-4A1F-8CBE-6AA1D1EF569B}" type="pres">
      <dgm:prSet presAssocID="{5776D148-4453-4DD8-A270-633E0380B448}" presName="arrowDiagram5" presStyleCnt="0"/>
      <dgm:spPr/>
    </dgm:pt>
    <dgm:pt modelId="{4D32A8BA-C528-4154-98C2-0C689BA1A28E}" type="pres">
      <dgm:prSet presAssocID="{DD27FBE4-CAA4-4B5F-A331-0ABCCCB19B35}" presName="bullet5a" presStyleLbl="node1" presStyleIdx="0" presStyleCnt="5"/>
      <dgm:spPr/>
      <dgm:t>
        <a:bodyPr/>
        <a:lstStyle/>
        <a:p>
          <a:endParaRPr lang="en-US"/>
        </a:p>
      </dgm:t>
    </dgm:pt>
    <dgm:pt modelId="{131B3ADB-5427-4272-8FC7-1A46B9B3C0B1}" type="pres">
      <dgm:prSet presAssocID="{DD27FBE4-CAA4-4B5F-A331-0ABCCCB19B35}" presName="textBox5a" presStyleLbl="revTx" presStyleIdx="0" presStyleCnt="5" custScaleX="134123" custScaleY="87580" custLinFactNeighborY="1109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FD5FEF3-1EF9-401D-ABE6-F788D845AF40}" type="pres">
      <dgm:prSet presAssocID="{EA4ED52C-0B07-471E-BDA5-3DB1AD3F1A2E}" presName="bullet5b" presStyleLbl="node1" presStyleIdx="1" presStyleCnt="5"/>
      <dgm:spPr/>
    </dgm:pt>
    <dgm:pt modelId="{241DE455-84EC-443A-B076-FFA35B22B34D}" type="pres">
      <dgm:prSet presAssocID="{EA4ED52C-0B07-471E-BDA5-3DB1AD3F1A2E}" presName="textBox5b" presStyleLbl="revTx" presStyleIdx="1" presStyleCnt="5" custScaleX="149837" custScaleY="8415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FF15FAC-5719-4C10-A1A3-E1C25AF45E8F}" type="pres">
      <dgm:prSet presAssocID="{E25A1D40-A993-4CB8-B5DB-FBEC30ECD49A}" presName="bullet5c" presStyleLbl="node1" presStyleIdx="2" presStyleCnt="5"/>
      <dgm:spPr/>
      <dgm:t>
        <a:bodyPr/>
        <a:lstStyle/>
        <a:p>
          <a:endParaRPr lang="en-US"/>
        </a:p>
      </dgm:t>
    </dgm:pt>
    <dgm:pt modelId="{04BCD35D-9176-4EA2-8C64-FD088386FDEF}" type="pres">
      <dgm:prSet presAssocID="{E25A1D40-A993-4CB8-B5DB-FBEC30ECD49A}" presName="textBox5c" presStyleLbl="revTx" presStyleIdx="2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D6B94A6-E378-4D7E-97EF-20FE2AD6F1D5}" type="pres">
      <dgm:prSet presAssocID="{656458C8-620E-424F-BA29-3C94D87C1C12}" presName="bullet5d" presStyleLbl="node1" presStyleIdx="3" presStyleCnt="5"/>
      <dgm:spPr/>
    </dgm:pt>
    <dgm:pt modelId="{B85C2168-F842-498E-8ECB-28AF220805F6}" type="pres">
      <dgm:prSet presAssocID="{656458C8-620E-424F-BA29-3C94D87C1C12}" presName="textBox5d" presStyleLbl="revTx" presStyleIdx="3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480E726-5250-4A51-84BD-99A36C5B00B3}" type="pres">
      <dgm:prSet presAssocID="{857F0A25-AAA0-4B5D-8135-0848D29AD5EE}" presName="bullet5e" presStyleLbl="node1" presStyleIdx="4" presStyleCnt="5"/>
      <dgm:spPr/>
    </dgm:pt>
    <dgm:pt modelId="{7C0862F5-C9D0-460F-845D-EC41C6605AFF}" type="pres">
      <dgm:prSet presAssocID="{857F0A25-AAA0-4B5D-8135-0848D29AD5EE}" presName="textBox5e" presStyleLbl="revTx" presStyleIdx="4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8932C705-8ADF-485A-A72A-691889D41B31}" srcId="{5776D148-4453-4DD8-A270-633E0380B448}" destId="{EA4ED52C-0B07-471E-BDA5-3DB1AD3F1A2E}" srcOrd="1" destOrd="0" parTransId="{4080C5D4-17BF-4B8B-B65E-257712E45C40}" sibTransId="{76327A14-83D8-4681-8DFD-554437A2C4C5}"/>
    <dgm:cxn modelId="{52C51451-E9AF-48FA-A030-AED2EB1610D1}" srcId="{5776D148-4453-4DD8-A270-633E0380B448}" destId="{857F0A25-AAA0-4B5D-8135-0848D29AD5EE}" srcOrd="4" destOrd="0" parTransId="{897C0D08-84D6-42BE-BFA2-D1F7A2EA4AE3}" sibTransId="{2ACCB2FC-FB93-4707-80C9-C3CA19776D7F}"/>
    <dgm:cxn modelId="{56C472EA-B621-403E-AE82-E582C940C498}" type="presOf" srcId="{857F0A25-AAA0-4B5D-8135-0848D29AD5EE}" destId="{7C0862F5-C9D0-460F-845D-EC41C6605AFF}" srcOrd="0" destOrd="0" presId="urn:microsoft.com/office/officeart/2005/8/layout/arrow2"/>
    <dgm:cxn modelId="{9235A666-EFB3-4BB4-A208-7C1FB2872CB4}" type="presOf" srcId="{EA4ED52C-0B07-471E-BDA5-3DB1AD3F1A2E}" destId="{241DE455-84EC-443A-B076-FFA35B22B34D}" srcOrd="0" destOrd="0" presId="urn:microsoft.com/office/officeart/2005/8/layout/arrow2"/>
    <dgm:cxn modelId="{1D1E09C4-C814-41C9-8336-C809F919EB5D}" type="presOf" srcId="{DD27FBE4-CAA4-4B5F-A331-0ABCCCB19B35}" destId="{131B3ADB-5427-4272-8FC7-1A46B9B3C0B1}" srcOrd="0" destOrd="0" presId="urn:microsoft.com/office/officeart/2005/8/layout/arrow2"/>
    <dgm:cxn modelId="{D8F6A875-0A92-43CD-9B8E-E593B26131CA}" srcId="{5776D148-4453-4DD8-A270-633E0380B448}" destId="{656458C8-620E-424F-BA29-3C94D87C1C12}" srcOrd="3" destOrd="0" parTransId="{51AF9843-571F-4031-BEC0-B13401A446CB}" sibTransId="{FAA30222-A6AF-4594-8D6A-53A9762C43F5}"/>
    <dgm:cxn modelId="{F2C40DDA-F34D-4921-9371-20143427D627}" srcId="{5776D148-4453-4DD8-A270-633E0380B448}" destId="{E25A1D40-A993-4CB8-B5DB-FBEC30ECD49A}" srcOrd="2" destOrd="0" parTransId="{896F440D-B2C5-41B4-B8F5-72EBB34F829B}" sibTransId="{BA7F0204-9B2C-4CEB-9EBF-9218B8A581FA}"/>
    <dgm:cxn modelId="{A4D77C83-962F-4188-A177-6766B05F9A34}" type="presOf" srcId="{5776D148-4453-4DD8-A270-633E0380B448}" destId="{578D0FB9-917F-4CC0-A007-411F3F96C931}" srcOrd="0" destOrd="0" presId="urn:microsoft.com/office/officeart/2005/8/layout/arrow2"/>
    <dgm:cxn modelId="{EE4F7F1C-C0DD-451A-83D3-F3995C05FE4F}" srcId="{5776D148-4453-4DD8-A270-633E0380B448}" destId="{DD27FBE4-CAA4-4B5F-A331-0ABCCCB19B35}" srcOrd="0" destOrd="0" parTransId="{AB49AF70-D39B-4B59-85B5-D63C6A2F7771}" sibTransId="{55FA0694-7179-447B-98EC-FE2344BFB7CB}"/>
    <dgm:cxn modelId="{8A770198-C189-47F4-BC20-08715E5DC991}" type="presOf" srcId="{E25A1D40-A993-4CB8-B5DB-FBEC30ECD49A}" destId="{04BCD35D-9176-4EA2-8C64-FD088386FDEF}" srcOrd="0" destOrd="0" presId="urn:microsoft.com/office/officeart/2005/8/layout/arrow2"/>
    <dgm:cxn modelId="{659A5D48-493C-4C52-A983-C4F0AA526403}" type="presOf" srcId="{656458C8-620E-424F-BA29-3C94D87C1C12}" destId="{B85C2168-F842-498E-8ECB-28AF220805F6}" srcOrd="0" destOrd="0" presId="urn:microsoft.com/office/officeart/2005/8/layout/arrow2"/>
    <dgm:cxn modelId="{A4FBF782-97FA-4A69-8F08-21020753FA83}" type="presParOf" srcId="{578D0FB9-917F-4CC0-A007-411F3F96C931}" destId="{17DDBB05-BDFA-4DB2-9F0B-29D3F0C8C000}" srcOrd="0" destOrd="0" presId="urn:microsoft.com/office/officeart/2005/8/layout/arrow2"/>
    <dgm:cxn modelId="{D04A9A1D-100E-4D28-A231-E3A555B83714}" type="presParOf" srcId="{578D0FB9-917F-4CC0-A007-411F3F96C931}" destId="{42B39A96-0046-4A1F-8CBE-6AA1D1EF569B}" srcOrd="1" destOrd="0" presId="urn:microsoft.com/office/officeart/2005/8/layout/arrow2"/>
    <dgm:cxn modelId="{6B2E109C-F629-49E2-98D3-B615978CF1C5}" type="presParOf" srcId="{42B39A96-0046-4A1F-8CBE-6AA1D1EF569B}" destId="{4D32A8BA-C528-4154-98C2-0C689BA1A28E}" srcOrd="0" destOrd="0" presId="urn:microsoft.com/office/officeart/2005/8/layout/arrow2"/>
    <dgm:cxn modelId="{B9A39461-B6AC-4589-81F8-0A739BFE577C}" type="presParOf" srcId="{42B39A96-0046-4A1F-8CBE-6AA1D1EF569B}" destId="{131B3ADB-5427-4272-8FC7-1A46B9B3C0B1}" srcOrd="1" destOrd="0" presId="urn:microsoft.com/office/officeart/2005/8/layout/arrow2"/>
    <dgm:cxn modelId="{843BD91D-3881-4601-B331-BA686CD2F3D7}" type="presParOf" srcId="{42B39A96-0046-4A1F-8CBE-6AA1D1EF569B}" destId="{0FD5FEF3-1EF9-401D-ABE6-F788D845AF40}" srcOrd="2" destOrd="0" presId="urn:microsoft.com/office/officeart/2005/8/layout/arrow2"/>
    <dgm:cxn modelId="{EAE68FE1-9119-48D1-B228-B73CAAF952A2}" type="presParOf" srcId="{42B39A96-0046-4A1F-8CBE-6AA1D1EF569B}" destId="{241DE455-84EC-443A-B076-FFA35B22B34D}" srcOrd="3" destOrd="0" presId="urn:microsoft.com/office/officeart/2005/8/layout/arrow2"/>
    <dgm:cxn modelId="{ADDBAA5A-E6E7-4181-9105-931EDD377237}" type="presParOf" srcId="{42B39A96-0046-4A1F-8CBE-6AA1D1EF569B}" destId="{CFF15FAC-5719-4C10-A1A3-E1C25AF45E8F}" srcOrd="4" destOrd="0" presId="urn:microsoft.com/office/officeart/2005/8/layout/arrow2"/>
    <dgm:cxn modelId="{B709CE5E-21E2-472F-A704-3178F2EAF39C}" type="presParOf" srcId="{42B39A96-0046-4A1F-8CBE-6AA1D1EF569B}" destId="{04BCD35D-9176-4EA2-8C64-FD088386FDEF}" srcOrd="5" destOrd="0" presId="urn:microsoft.com/office/officeart/2005/8/layout/arrow2"/>
    <dgm:cxn modelId="{41E04249-F6FC-4843-B098-5AD2D0444C6C}" type="presParOf" srcId="{42B39A96-0046-4A1F-8CBE-6AA1D1EF569B}" destId="{BD6B94A6-E378-4D7E-97EF-20FE2AD6F1D5}" srcOrd="6" destOrd="0" presId="urn:microsoft.com/office/officeart/2005/8/layout/arrow2"/>
    <dgm:cxn modelId="{590E3EE6-AEF9-4A5E-9F55-9D66A790A0DA}" type="presParOf" srcId="{42B39A96-0046-4A1F-8CBE-6AA1D1EF569B}" destId="{B85C2168-F842-498E-8ECB-28AF220805F6}" srcOrd="7" destOrd="0" presId="urn:microsoft.com/office/officeart/2005/8/layout/arrow2"/>
    <dgm:cxn modelId="{8B60AFA3-01AB-436D-942E-B74926D0C5C5}" type="presParOf" srcId="{42B39A96-0046-4A1F-8CBE-6AA1D1EF569B}" destId="{8480E726-5250-4A51-84BD-99A36C5B00B3}" srcOrd="8" destOrd="0" presId="urn:microsoft.com/office/officeart/2005/8/layout/arrow2"/>
    <dgm:cxn modelId="{0FF60D8D-BCB9-44FA-843C-780A206C5FE7}" type="presParOf" srcId="{42B39A96-0046-4A1F-8CBE-6AA1D1EF569B}" destId="{7C0862F5-C9D0-460F-845D-EC41C6605AFF}" srcOrd="9" destOrd="0" presId="urn:microsoft.com/office/officeart/2005/8/layout/arrow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B4EDA28A-7986-487F-B5AF-0A3C6791DB47}" type="doc">
      <dgm:prSet loTypeId="urn:microsoft.com/office/officeart/2005/8/layout/radial6" loCatId="relationship" qsTypeId="urn:microsoft.com/office/officeart/2005/8/quickstyle/simple3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155E245E-9F76-47FF-B166-B42D3C8F437A}">
      <dgm:prSet phldrT="[Text]" custT="1"/>
      <dgm:spPr/>
      <dgm:t>
        <a:bodyPr/>
        <a:lstStyle/>
        <a:p>
          <a:r>
            <a:rPr lang="hu-HU" sz="1300" smtClean="0">
              <a:latin typeface="+mj-lt"/>
            </a:rPr>
            <a:t>Reporting</a:t>
          </a:r>
          <a:endParaRPr lang="en-US" sz="1300">
            <a:latin typeface="+mj-lt"/>
          </a:endParaRPr>
        </a:p>
      </dgm:t>
    </dgm:pt>
    <dgm:pt modelId="{6565A3B3-F211-4698-A13F-58C79F13B3E8}" type="parTrans" cxnId="{30EBA03E-E8A4-43A2-A18E-6DBFD5E1E9CD}">
      <dgm:prSet/>
      <dgm:spPr/>
      <dgm:t>
        <a:bodyPr/>
        <a:lstStyle/>
        <a:p>
          <a:endParaRPr lang="en-US"/>
        </a:p>
      </dgm:t>
    </dgm:pt>
    <dgm:pt modelId="{4DD1F69C-716C-4416-90AE-81B17482A04E}" type="sibTrans" cxnId="{30EBA03E-E8A4-43A2-A18E-6DBFD5E1E9CD}">
      <dgm:prSet/>
      <dgm:spPr/>
      <dgm:t>
        <a:bodyPr/>
        <a:lstStyle/>
        <a:p>
          <a:endParaRPr lang="en-US"/>
        </a:p>
      </dgm:t>
    </dgm:pt>
    <dgm:pt modelId="{3E0948C1-D0C1-47B2-A08D-9650A8FDFC77}">
      <dgm:prSet phldrT="[Text]" custT="1"/>
      <dgm:spPr/>
      <dgm:t>
        <a:bodyPr/>
        <a:lstStyle/>
        <a:p>
          <a:r>
            <a:rPr lang="hu-HU" sz="1300" smtClean="0">
              <a:latin typeface="+mj-lt"/>
            </a:rPr>
            <a:t>Cost management</a:t>
          </a:r>
          <a:endParaRPr lang="en-US" sz="1300">
            <a:latin typeface="+mj-lt"/>
          </a:endParaRPr>
        </a:p>
      </dgm:t>
    </dgm:pt>
    <dgm:pt modelId="{66AD594B-7921-4338-BBFC-92CDF0D0E92B}" type="parTrans" cxnId="{66AB9365-828D-4FC5-BCE0-29E4415F4CAB}">
      <dgm:prSet/>
      <dgm:spPr/>
      <dgm:t>
        <a:bodyPr/>
        <a:lstStyle/>
        <a:p>
          <a:endParaRPr lang="en-US"/>
        </a:p>
      </dgm:t>
    </dgm:pt>
    <dgm:pt modelId="{19BBA7FE-B744-413E-B8F8-8EC5A71D4AC7}" type="sibTrans" cxnId="{66AB9365-828D-4FC5-BCE0-29E4415F4CAB}">
      <dgm:prSet/>
      <dgm:spPr/>
      <dgm:t>
        <a:bodyPr/>
        <a:lstStyle/>
        <a:p>
          <a:endParaRPr lang="en-US"/>
        </a:p>
      </dgm:t>
    </dgm:pt>
    <dgm:pt modelId="{5F0207C8-05BE-4F6B-A71C-AC2F545543E2}">
      <dgm:prSet phldrT="[Text]" custT="1"/>
      <dgm:spPr/>
      <dgm:t>
        <a:bodyPr/>
        <a:lstStyle/>
        <a:p>
          <a:r>
            <a:rPr lang="hu-HU" sz="1300" smtClean="0">
              <a:latin typeface="+mj-lt"/>
            </a:rPr>
            <a:t>Support</a:t>
          </a:r>
          <a:endParaRPr lang="en-US" sz="1300">
            <a:latin typeface="+mj-lt"/>
          </a:endParaRPr>
        </a:p>
      </dgm:t>
    </dgm:pt>
    <dgm:pt modelId="{5DF5FB0A-6EFE-41D9-A386-7885B54327A7}" type="parTrans" cxnId="{FD65D0D8-69CA-45A1-9945-2B09F828E0C8}">
      <dgm:prSet/>
      <dgm:spPr/>
      <dgm:t>
        <a:bodyPr/>
        <a:lstStyle/>
        <a:p>
          <a:endParaRPr lang="en-US"/>
        </a:p>
      </dgm:t>
    </dgm:pt>
    <dgm:pt modelId="{94113523-6CB8-4667-864B-C13174247B0A}" type="sibTrans" cxnId="{FD65D0D8-69CA-45A1-9945-2B09F828E0C8}">
      <dgm:prSet/>
      <dgm:spPr/>
      <dgm:t>
        <a:bodyPr/>
        <a:lstStyle/>
        <a:p>
          <a:endParaRPr lang="en-US"/>
        </a:p>
      </dgm:t>
    </dgm:pt>
    <dgm:pt modelId="{275BC3B2-2F40-44BD-99D3-A79D2BEE4412}">
      <dgm:prSet phldrT="[Text]" custT="1"/>
      <dgm:spPr/>
      <dgm:t>
        <a:bodyPr/>
        <a:lstStyle/>
        <a:p>
          <a:r>
            <a:rPr lang="hu-HU" sz="1300" smtClean="0">
              <a:latin typeface="+mj-lt"/>
            </a:rPr>
            <a:t>Project management</a:t>
          </a:r>
          <a:endParaRPr lang="en-US" sz="1300">
            <a:latin typeface="+mj-lt"/>
          </a:endParaRPr>
        </a:p>
      </dgm:t>
    </dgm:pt>
    <dgm:pt modelId="{2A2C1A77-BC05-4C62-93C9-E65FF2142384}" type="parTrans" cxnId="{F2756A2B-BDE7-4676-98AF-92B5BEDB9025}">
      <dgm:prSet/>
      <dgm:spPr/>
      <dgm:t>
        <a:bodyPr/>
        <a:lstStyle/>
        <a:p>
          <a:endParaRPr lang="en-US"/>
        </a:p>
      </dgm:t>
    </dgm:pt>
    <dgm:pt modelId="{518C9E5C-A733-4A10-90C9-5B03FA128213}" type="sibTrans" cxnId="{F2756A2B-BDE7-4676-98AF-92B5BEDB9025}">
      <dgm:prSet/>
      <dgm:spPr/>
      <dgm:t>
        <a:bodyPr/>
        <a:lstStyle/>
        <a:p>
          <a:endParaRPr lang="en-US"/>
        </a:p>
      </dgm:t>
    </dgm:pt>
    <dgm:pt modelId="{2FB4A2A9-0A30-4BAD-AB31-199FA0A1E212}">
      <dgm:prSet phldrT="[Text]" custT="1"/>
      <dgm:spPr/>
      <dgm:t>
        <a:bodyPr/>
        <a:lstStyle/>
        <a:p>
          <a:r>
            <a:rPr lang="hu-HU" sz="1300" smtClean="0">
              <a:latin typeface="+mj-lt"/>
            </a:rPr>
            <a:t>Project information</a:t>
          </a:r>
          <a:endParaRPr lang="en-US" sz="1300">
            <a:latin typeface="+mj-lt"/>
          </a:endParaRPr>
        </a:p>
      </dgm:t>
    </dgm:pt>
    <dgm:pt modelId="{A2083713-14E4-484E-80A4-83DD6E0E413D}" type="parTrans" cxnId="{C4705344-7EF4-4742-A816-60DC845BEB80}">
      <dgm:prSet/>
      <dgm:spPr/>
      <dgm:t>
        <a:bodyPr/>
        <a:lstStyle/>
        <a:p>
          <a:endParaRPr lang="en-US"/>
        </a:p>
      </dgm:t>
    </dgm:pt>
    <dgm:pt modelId="{74FFE720-69E3-4422-AA66-0D5E5D00805F}" type="sibTrans" cxnId="{C4705344-7EF4-4742-A816-60DC845BEB80}">
      <dgm:prSet/>
      <dgm:spPr/>
      <dgm:t>
        <a:bodyPr/>
        <a:lstStyle/>
        <a:p>
          <a:endParaRPr lang="en-US"/>
        </a:p>
      </dgm:t>
    </dgm:pt>
    <dgm:pt modelId="{B9C38477-084C-4E2C-A2C9-0DAD52F6C191}">
      <dgm:prSet phldrT="[Text]"/>
      <dgm:spPr>
        <a:solidFill>
          <a:schemeClr val="lt1">
            <a:hueOff val="0"/>
            <a:satOff val="0"/>
            <a:lumOff val="0"/>
            <a:alpha val="0"/>
          </a:schemeClr>
        </a:solidFill>
      </dgm:spPr>
      <dgm:t>
        <a:bodyPr/>
        <a:lstStyle/>
        <a:p>
          <a:r>
            <a:rPr lang="hu-HU" smtClean="0"/>
            <a:t> </a:t>
          </a:r>
          <a:endParaRPr lang="en-US"/>
        </a:p>
      </dgm:t>
    </dgm:pt>
    <dgm:pt modelId="{4E8075D4-B584-49D0-A17C-347AFD8AD087}" type="sibTrans" cxnId="{542098A7-EA02-4FEC-BB30-74EDCBF59AC8}">
      <dgm:prSet/>
      <dgm:spPr/>
      <dgm:t>
        <a:bodyPr/>
        <a:lstStyle/>
        <a:p>
          <a:endParaRPr lang="en-US"/>
        </a:p>
      </dgm:t>
    </dgm:pt>
    <dgm:pt modelId="{E5877FA7-FC2A-43D5-B72E-6CAB86D0C1D7}" type="parTrans" cxnId="{542098A7-EA02-4FEC-BB30-74EDCBF59AC8}">
      <dgm:prSet/>
      <dgm:spPr/>
      <dgm:t>
        <a:bodyPr/>
        <a:lstStyle/>
        <a:p>
          <a:endParaRPr lang="en-US"/>
        </a:p>
      </dgm:t>
    </dgm:pt>
    <dgm:pt modelId="{2ECE1431-8502-4246-8502-AFFCF38A127F}">
      <dgm:prSet phldrT="[Text]" custT="1"/>
      <dgm:spPr/>
      <dgm:t>
        <a:bodyPr/>
        <a:lstStyle/>
        <a:p>
          <a:r>
            <a:rPr lang="hu-HU" sz="1300" smtClean="0">
              <a:latin typeface="+mj-lt"/>
            </a:rPr>
            <a:t>Resource management</a:t>
          </a:r>
          <a:endParaRPr lang="en-US" sz="1300">
            <a:latin typeface="+mj-lt"/>
          </a:endParaRPr>
        </a:p>
      </dgm:t>
    </dgm:pt>
    <dgm:pt modelId="{BA1CB5AC-19BE-41C8-B054-E68DABE4B8A5}" type="parTrans" cxnId="{FB4940DF-E2CD-4F23-B2BD-A804A7651A33}">
      <dgm:prSet/>
      <dgm:spPr/>
      <dgm:t>
        <a:bodyPr/>
        <a:lstStyle/>
        <a:p>
          <a:endParaRPr lang="en-US"/>
        </a:p>
      </dgm:t>
    </dgm:pt>
    <dgm:pt modelId="{1B6C20BC-BC06-4C77-AAB2-B7BCF1D6968C}" type="sibTrans" cxnId="{FB4940DF-E2CD-4F23-B2BD-A804A7651A33}">
      <dgm:prSet/>
      <dgm:spPr/>
      <dgm:t>
        <a:bodyPr/>
        <a:lstStyle/>
        <a:p>
          <a:endParaRPr lang="en-US"/>
        </a:p>
      </dgm:t>
    </dgm:pt>
    <dgm:pt modelId="{F9AC6059-538D-4A20-96A6-6F7BE9EBBE01}">
      <dgm:prSet phldrT="[Text]" custT="1"/>
      <dgm:spPr/>
      <dgm:t>
        <a:bodyPr/>
        <a:lstStyle/>
        <a:p>
          <a:r>
            <a:rPr lang="hu-HU" sz="1200" smtClean="0">
              <a:latin typeface="+mj-lt"/>
            </a:rPr>
            <a:t>Communication</a:t>
          </a:r>
          <a:endParaRPr lang="en-US" sz="1200">
            <a:latin typeface="+mj-lt"/>
          </a:endParaRPr>
        </a:p>
      </dgm:t>
    </dgm:pt>
    <dgm:pt modelId="{86D94845-DCD6-4366-A851-090AFF3BFB1B}" type="parTrans" cxnId="{0777ABC6-7495-4578-90C6-ECCB27D041F8}">
      <dgm:prSet/>
      <dgm:spPr/>
      <dgm:t>
        <a:bodyPr/>
        <a:lstStyle/>
        <a:p>
          <a:endParaRPr lang="en-US"/>
        </a:p>
      </dgm:t>
    </dgm:pt>
    <dgm:pt modelId="{668F6473-25DF-4BC6-AF68-4C65B008505A}" type="sibTrans" cxnId="{0777ABC6-7495-4578-90C6-ECCB27D041F8}">
      <dgm:prSet/>
      <dgm:spPr/>
      <dgm:t>
        <a:bodyPr/>
        <a:lstStyle/>
        <a:p>
          <a:endParaRPr lang="en-US"/>
        </a:p>
      </dgm:t>
    </dgm:pt>
    <dgm:pt modelId="{893C353D-8F74-451E-B718-8CE64B9AD204}" type="pres">
      <dgm:prSet presAssocID="{B4EDA28A-7986-487F-B5AF-0A3C6791DB47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7552FECF-6F99-4711-8679-EC9174465DEC}" type="pres">
      <dgm:prSet presAssocID="{B9C38477-084C-4E2C-A2C9-0DAD52F6C191}" presName="centerShape" presStyleLbl="node0" presStyleIdx="0" presStyleCnt="1" custAng="0" custFlipVert="0" custFlipHor="0" custScaleX="119844" custScaleY="118398" custLinFactNeighborX="-1492" custLinFactNeighborY="-5021"/>
      <dgm:spPr/>
      <dgm:t>
        <a:bodyPr/>
        <a:lstStyle/>
        <a:p>
          <a:endParaRPr lang="en-US"/>
        </a:p>
      </dgm:t>
    </dgm:pt>
    <dgm:pt modelId="{665DB003-157E-4D6A-BD06-7268E5FE3739}" type="pres">
      <dgm:prSet presAssocID="{275BC3B2-2F40-44BD-99D3-A79D2BEE4412}" presName="node" presStyleLbl="node1" presStyleIdx="0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C983A1B-23D1-4F5C-8FEE-E6AA9EE3CFAE}" type="pres">
      <dgm:prSet presAssocID="{275BC3B2-2F40-44BD-99D3-A79D2BEE4412}" presName="dummy" presStyleCnt="0"/>
      <dgm:spPr/>
    </dgm:pt>
    <dgm:pt modelId="{90A6F6C8-714D-4CCB-ACCE-C82BCBAD4F85}" type="pres">
      <dgm:prSet presAssocID="{518C9E5C-A733-4A10-90C9-5B03FA128213}" presName="sibTrans" presStyleLbl="sibTrans2D1" presStyleIdx="0" presStyleCnt="7"/>
      <dgm:spPr/>
      <dgm:t>
        <a:bodyPr/>
        <a:lstStyle/>
        <a:p>
          <a:endParaRPr lang="en-US"/>
        </a:p>
      </dgm:t>
    </dgm:pt>
    <dgm:pt modelId="{A6A88D24-7989-41C7-B5B5-80530370E609}" type="pres">
      <dgm:prSet presAssocID="{2ECE1431-8502-4246-8502-AFFCF38A127F}" presName="node" presStyleLbl="node1" presStyleIdx="1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8556AE7-C2A4-41F7-AF1F-EBE194010586}" type="pres">
      <dgm:prSet presAssocID="{2ECE1431-8502-4246-8502-AFFCF38A127F}" presName="dummy" presStyleCnt="0"/>
      <dgm:spPr/>
    </dgm:pt>
    <dgm:pt modelId="{74B6BB6C-DAAF-4928-85CB-F923FC960CBF}" type="pres">
      <dgm:prSet presAssocID="{1B6C20BC-BC06-4C77-AAB2-B7BCF1D6968C}" presName="sibTrans" presStyleLbl="sibTrans2D1" presStyleIdx="1" presStyleCnt="7"/>
      <dgm:spPr/>
      <dgm:t>
        <a:bodyPr/>
        <a:lstStyle/>
        <a:p>
          <a:endParaRPr lang="en-US"/>
        </a:p>
      </dgm:t>
    </dgm:pt>
    <dgm:pt modelId="{7A9BE9B9-49D8-4453-AC96-115530523418}" type="pres">
      <dgm:prSet presAssocID="{2FB4A2A9-0A30-4BAD-AB31-199FA0A1E212}" presName="node" presStyleLbl="node1" presStyleIdx="2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38C922C-70F3-4FE8-95CC-CA25CA128494}" type="pres">
      <dgm:prSet presAssocID="{2FB4A2A9-0A30-4BAD-AB31-199FA0A1E212}" presName="dummy" presStyleCnt="0"/>
      <dgm:spPr/>
    </dgm:pt>
    <dgm:pt modelId="{37606AD0-239E-43B7-9C26-9371C01FEAEF}" type="pres">
      <dgm:prSet presAssocID="{74FFE720-69E3-4422-AA66-0D5E5D00805F}" presName="sibTrans" presStyleLbl="sibTrans2D1" presStyleIdx="2" presStyleCnt="7"/>
      <dgm:spPr/>
      <dgm:t>
        <a:bodyPr/>
        <a:lstStyle/>
        <a:p>
          <a:endParaRPr lang="en-US"/>
        </a:p>
      </dgm:t>
    </dgm:pt>
    <dgm:pt modelId="{3D04955C-A07C-4D91-85B7-4DBB9700C93D}" type="pres">
      <dgm:prSet presAssocID="{155E245E-9F76-47FF-B166-B42D3C8F437A}" presName="node" presStyleLbl="node1" presStyleIdx="3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A597CB0-54D9-406F-AF95-50E4C1514CB0}" type="pres">
      <dgm:prSet presAssocID="{155E245E-9F76-47FF-B166-B42D3C8F437A}" presName="dummy" presStyleCnt="0"/>
      <dgm:spPr/>
    </dgm:pt>
    <dgm:pt modelId="{32DB0848-3C8D-4CD0-8043-10161CEB433A}" type="pres">
      <dgm:prSet presAssocID="{4DD1F69C-716C-4416-90AE-81B17482A04E}" presName="sibTrans" presStyleLbl="sibTrans2D1" presStyleIdx="3" presStyleCnt="7" custScaleX="127770" custScaleY="108782"/>
      <dgm:spPr/>
      <dgm:t>
        <a:bodyPr/>
        <a:lstStyle/>
        <a:p>
          <a:endParaRPr lang="en-US"/>
        </a:p>
      </dgm:t>
    </dgm:pt>
    <dgm:pt modelId="{E86EA617-36C5-4692-AE2A-52C03756C5D7}" type="pres">
      <dgm:prSet presAssocID="{3E0948C1-D0C1-47B2-A08D-9650A8FDFC77}" presName="node" presStyleLbl="node1" presStyleIdx="4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E54B5E6-44C1-43EB-B819-DD1FC643CF9E}" type="pres">
      <dgm:prSet presAssocID="{3E0948C1-D0C1-47B2-A08D-9650A8FDFC77}" presName="dummy" presStyleCnt="0"/>
      <dgm:spPr/>
    </dgm:pt>
    <dgm:pt modelId="{0FB1538B-6FDE-418C-B07C-AC1E35C62802}" type="pres">
      <dgm:prSet presAssocID="{19BBA7FE-B744-413E-B8F8-8EC5A71D4AC7}" presName="sibTrans" presStyleLbl="sibTrans2D1" presStyleIdx="4" presStyleCnt="7"/>
      <dgm:spPr/>
      <dgm:t>
        <a:bodyPr/>
        <a:lstStyle/>
        <a:p>
          <a:endParaRPr lang="en-US"/>
        </a:p>
      </dgm:t>
    </dgm:pt>
    <dgm:pt modelId="{4C3B7C42-BFCA-4942-ACFF-0944B1C4B89C}" type="pres">
      <dgm:prSet presAssocID="{5F0207C8-05BE-4F6B-A71C-AC2F545543E2}" presName="node" presStyleLbl="node1" presStyleIdx="5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769E637-D4FB-4C13-8948-7B9FA8BF4F81}" type="pres">
      <dgm:prSet presAssocID="{5F0207C8-05BE-4F6B-A71C-AC2F545543E2}" presName="dummy" presStyleCnt="0"/>
      <dgm:spPr/>
    </dgm:pt>
    <dgm:pt modelId="{6DA3B7BC-A54B-4F2E-B6BD-27A931AE9C19}" type="pres">
      <dgm:prSet presAssocID="{94113523-6CB8-4667-864B-C13174247B0A}" presName="sibTrans" presStyleLbl="sibTrans2D1" presStyleIdx="5" presStyleCnt="7"/>
      <dgm:spPr/>
      <dgm:t>
        <a:bodyPr/>
        <a:lstStyle/>
        <a:p>
          <a:endParaRPr lang="en-US"/>
        </a:p>
      </dgm:t>
    </dgm:pt>
    <dgm:pt modelId="{FB3F7FAB-16E3-483D-AB23-E3FD72FF703F}" type="pres">
      <dgm:prSet presAssocID="{F9AC6059-538D-4A20-96A6-6F7BE9EBBE01}" presName="node" presStyleLbl="node1" presStyleIdx="6" presStyleCnt="7" custScaleX="117094" custScaleY="11524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1AB25D7-A562-42A4-8DDC-479A33702B21}" type="pres">
      <dgm:prSet presAssocID="{F9AC6059-538D-4A20-96A6-6F7BE9EBBE01}" presName="dummy" presStyleCnt="0"/>
      <dgm:spPr/>
    </dgm:pt>
    <dgm:pt modelId="{1CD9770B-1BFE-45C5-8ED5-B4FF9582EF9B}" type="pres">
      <dgm:prSet presAssocID="{668F6473-25DF-4BC6-AF68-4C65B008505A}" presName="sibTrans" presStyleLbl="sibTrans2D1" presStyleIdx="6" presStyleCnt="7"/>
      <dgm:spPr/>
      <dgm:t>
        <a:bodyPr/>
        <a:lstStyle/>
        <a:p>
          <a:endParaRPr lang="en-US"/>
        </a:p>
      </dgm:t>
    </dgm:pt>
  </dgm:ptLst>
  <dgm:cxnLst>
    <dgm:cxn modelId="{66AB9365-828D-4FC5-BCE0-29E4415F4CAB}" srcId="{B9C38477-084C-4E2C-A2C9-0DAD52F6C191}" destId="{3E0948C1-D0C1-47B2-A08D-9650A8FDFC77}" srcOrd="4" destOrd="0" parTransId="{66AD594B-7921-4338-BBFC-92CDF0D0E92B}" sibTransId="{19BBA7FE-B744-413E-B8F8-8EC5A71D4AC7}"/>
    <dgm:cxn modelId="{FB4940DF-E2CD-4F23-B2BD-A804A7651A33}" srcId="{B9C38477-084C-4E2C-A2C9-0DAD52F6C191}" destId="{2ECE1431-8502-4246-8502-AFFCF38A127F}" srcOrd="1" destOrd="0" parTransId="{BA1CB5AC-19BE-41C8-B054-E68DABE4B8A5}" sibTransId="{1B6C20BC-BC06-4C77-AAB2-B7BCF1D6968C}"/>
    <dgm:cxn modelId="{C4705344-7EF4-4742-A816-60DC845BEB80}" srcId="{B9C38477-084C-4E2C-A2C9-0DAD52F6C191}" destId="{2FB4A2A9-0A30-4BAD-AB31-199FA0A1E212}" srcOrd="2" destOrd="0" parTransId="{A2083713-14E4-484E-80A4-83DD6E0E413D}" sibTransId="{74FFE720-69E3-4422-AA66-0D5E5D00805F}"/>
    <dgm:cxn modelId="{0777ABC6-7495-4578-90C6-ECCB27D041F8}" srcId="{B9C38477-084C-4E2C-A2C9-0DAD52F6C191}" destId="{F9AC6059-538D-4A20-96A6-6F7BE9EBBE01}" srcOrd="6" destOrd="0" parTransId="{86D94845-DCD6-4366-A851-090AFF3BFB1B}" sibTransId="{668F6473-25DF-4BC6-AF68-4C65B008505A}"/>
    <dgm:cxn modelId="{BEAA2C07-30BF-4F38-9F9D-6FDAFA8D38A6}" type="presOf" srcId="{2FB4A2A9-0A30-4BAD-AB31-199FA0A1E212}" destId="{7A9BE9B9-49D8-4453-AC96-115530523418}" srcOrd="0" destOrd="0" presId="urn:microsoft.com/office/officeart/2005/8/layout/radial6"/>
    <dgm:cxn modelId="{E04D4ADC-F9A7-487C-B72A-58B81357F6A9}" type="presOf" srcId="{F9AC6059-538D-4A20-96A6-6F7BE9EBBE01}" destId="{FB3F7FAB-16E3-483D-AB23-E3FD72FF703F}" srcOrd="0" destOrd="0" presId="urn:microsoft.com/office/officeart/2005/8/layout/radial6"/>
    <dgm:cxn modelId="{A46543A6-E10E-49FA-9EED-88B206891713}" type="presOf" srcId="{19BBA7FE-B744-413E-B8F8-8EC5A71D4AC7}" destId="{0FB1538B-6FDE-418C-B07C-AC1E35C62802}" srcOrd="0" destOrd="0" presId="urn:microsoft.com/office/officeart/2005/8/layout/radial6"/>
    <dgm:cxn modelId="{E172FDA6-0BE6-432F-8A98-95F92E563493}" type="presOf" srcId="{5F0207C8-05BE-4F6B-A71C-AC2F545543E2}" destId="{4C3B7C42-BFCA-4942-ACFF-0944B1C4B89C}" srcOrd="0" destOrd="0" presId="urn:microsoft.com/office/officeart/2005/8/layout/radial6"/>
    <dgm:cxn modelId="{2C2B7414-5118-416F-BA9C-7FF75F454717}" type="presOf" srcId="{518C9E5C-A733-4A10-90C9-5B03FA128213}" destId="{90A6F6C8-714D-4CCB-ACCE-C82BCBAD4F85}" srcOrd="0" destOrd="0" presId="urn:microsoft.com/office/officeart/2005/8/layout/radial6"/>
    <dgm:cxn modelId="{542098A7-EA02-4FEC-BB30-74EDCBF59AC8}" srcId="{B4EDA28A-7986-487F-B5AF-0A3C6791DB47}" destId="{B9C38477-084C-4E2C-A2C9-0DAD52F6C191}" srcOrd="0" destOrd="0" parTransId="{E5877FA7-FC2A-43D5-B72E-6CAB86D0C1D7}" sibTransId="{4E8075D4-B584-49D0-A17C-347AFD8AD087}"/>
    <dgm:cxn modelId="{83351401-7A21-4208-AC64-F468715AD89B}" type="presOf" srcId="{1B6C20BC-BC06-4C77-AAB2-B7BCF1D6968C}" destId="{74B6BB6C-DAAF-4928-85CB-F923FC960CBF}" srcOrd="0" destOrd="0" presId="urn:microsoft.com/office/officeart/2005/8/layout/radial6"/>
    <dgm:cxn modelId="{F2756A2B-BDE7-4676-98AF-92B5BEDB9025}" srcId="{B9C38477-084C-4E2C-A2C9-0DAD52F6C191}" destId="{275BC3B2-2F40-44BD-99D3-A79D2BEE4412}" srcOrd="0" destOrd="0" parTransId="{2A2C1A77-BC05-4C62-93C9-E65FF2142384}" sibTransId="{518C9E5C-A733-4A10-90C9-5B03FA128213}"/>
    <dgm:cxn modelId="{1AEC0CD6-4AFA-41F4-B983-05FA268A1E16}" type="presOf" srcId="{94113523-6CB8-4667-864B-C13174247B0A}" destId="{6DA3B7BC-A54B-4F2E-B6BD-27A931AE9C19}" srcOrd="0" destOrd="0" presId="urn:microsoft.com/office/officeart/2005/8/layout/radial6"/>
    <dgm:cxn modelId="{0D686FE9-C184-450F-BB3E-D597881E23F5}" type="presOf" srcId="{B4EDA28A-7986-487F-B5AF-0A3C6791DB47}" destId="{893C353D-8F74-451E-B718-8CE64B9AD204}" srcOrd="0" destOrd="0" presId="urn:microsoft.com/office/officeart/2005/8/layout/radial6"/>
    <dgm:cxn modelId="{D6D5F251-8BC0-43C8-8761-DEA8B61DC7AB}" type="presOf" srcId="{155E245E-9F76-47FF-B166-B42D3C8F437A}" destId="{3D04955C-A07C-4D91-85B7-4DBB9700C93D}" srcOrd="0" destOrd="0" presId="urn:microsoft.com/office/officeart/2005/8/layout/radial6"/>
    <dgm:cxn modelId="{864A6890-A9FE-4382-B975-8EE8C0794A0E}" type="presOf" srcId="{275BC3B2-2F40-44BD-99D3-A79D2BEE4412}" destId="{665DB003-157E-4D6A-BD06-7268E5FE3739}" srcOrd="0" destOrd="0" presId="urn:microsoft.com/office/officeart/2005/8/layout/radial6"/>
    <dgm:cxn modelId="{E2A76B5A-DC12-4387-8112-A313ED1FA71D}" type="presOf" srcId="{4DD1F69C-716C-4416-90AE-81B17482A04E}" destId="{32DB0848-3C8D-4CD0-8043-10161CEB433A}" srcOrd="0" destOrd="0" presId="urn:microsoft.com/office/officeart/2005/8/layout/radial6"/>
    <dgm:cxn modelId="{B99F3DD3-5099-4FDB-AA4F-13851D61ED6A}" type="presOf" srcId="{2ECE1431-8502-4246-8502-AFFCF38A127F}" destId="{A6A88D24-7989-41C7-B5B5-80530370E609}" srcOrd="0" destOrd="0" presId="urn:microsoft.com/office/officeart/2005/8/layout/radial6"/>
    <dgm:cxn modelId="{3D633ABE-4003-4E9F-9F89-106F3A901320}" type="presOf" srcId="{B9C38477-084C-4E2C-A2C9-0DAD52F6C191}" destId="{7552FECF-6F99-4711-8679-EC9174465DEC}" srcOrd="0" destOrd="0" presId="urn:microsoft.com/office/officeart/2005/8/layout/radial6"/>
    <dgm:cxn modelId="{1B2F2370-8302-4B69-A137-C519805EC421}" type="presOf" srcId="{3E0948C1-D0C1-47B2-A08D-9650A8FDFC77}" destId="{E86EA617-36C5-4692-AE2A-52C03756C5D7}" srcOrd="0" destOrd="0" presId="urn:microsoft.com/office/officeart/2005/8/layout/radial6"/>
    <dgm:cxn modelId="{63F48052-184C-474A-A7FB-2F74D8CB2AB9}" type="presOf" srcId="{74FFE720-69E3-4422-AA66-0D5E5D00805F}" destId="{37606AD0-239E-43B7-9C26-9371C01FEAEF}" srcOrd="0" destOrd="0" presId="urn:microsoft.com/office/officeart/2005/8/layout/radial6"/>
    <dgm:cxn modelId="{4D742386-2C84-4069-B106-95E0117F8F5D}" type="presOf" srcId="{668F6473-25DF-4BC6-AF68-4C65B008505A}" destId="{1CD9770B-1BFE-45C5-8ED5-B4FF9582EF9B}" srcOrd="0" destOrd="0" presId="urn:microsoft.com/office/officeart/2005/8/layout/radial6"/>
    <dgm:cxn modelId="{30EBA03E-E8A4-43A2-A18E-6DBFD5E1E9CD}" srcId="{B9C38477-084C-4E2C-A2C9-0DAD52F6C191}" destId="{155E245E-9F76-47FF-B166-B42D3C8F437A}" srcOrd="3" destOrd="0" parTransId="{6565A3B3-F211-4698-A13F-58C79F13B3E8}" sibTransId="{4DD1F69C-716C-4416-90AE-81B17482A04E}"/>
    <dgm:cxn modelId="{FD65D0D8-69CA-45A1-9945-2B09F828E0C8}" srcId="{B9C38477-084C-4E2C-A2C9-0DAD52F6C191}" destId="{5F0207C8-05BE-4F6B-A71C-AC2F545543E2}" srcOrd="5" destOrd="0" parTransId="{5DF5FB0A-6EFE-41D9-A386-7885B54327A7}" sibTransId="{94113523-6CB8-4667-864B-C13174247B0A}"/>
    <dgm:cxn modelId="{96A1AF93-641F-487C-A963-0FD5F7E86173}" type="presParOf" srcId="{893C353D-8F74-451E-B718-8CE64B9AD204}" destId="{7552FECF-6F99-4711-8679-EC9174465DEC}" srcOrd="0" destOrd="0" presId="urn:microsoft.com/office/officeart/2005/8/layout/radial6"/>
    <dgm:cxn modelId="{3D2E39D5-AA21-4F61-A429-E1754D840509}" type="presParOf" srcId="{893C353D-8F74-451E-B718-8CE64B9AD204}" destId="{665DB003-157E-4D6A-BD06-7268E5FE3739}" srcOrd="1" destOrd="0" presId="urn:microsoft.com/office/officeart/2005/8/layout/radial6"/>
    <dgm:cxn modelId="{A3D78167-86CF-4014-B571-2F4C4A19567B}" type="presParOf" srcId="{893C353D-8F74-451E-B718-8CE64B9AD204}" destId="{1C983A1B-23D1-4F5C-8FEE-E6AA9EE3CFAE}" srcOrd="2" destOrd="0" presId="urn:microsoft.com/office/officeart/2005/8/layout/radial6"/>
    <dgm:cxn modelId="{36C401E4-F278-47E8-A82A-3C8E0A9531CE}" type="presParOf" srcId="{893C353D-8F74-451E-B718-8CE64B9AD204}" destId="{90A6F6C8-714D-4CCB-ACCE-C82BCBAD4F85}" srcOrd="3" destOrd="0" presId="urn:microsoft.com/office/officeart/2005/8/layout/radial6"/>
    <dgm:cxn modelId="{97FB6843-6AF7-4705-8B89-70D61DEF83F7}" type="presParOf" srcId="{893C353D-8F74-451E-B718-8CE64B9AD204}" destId="{A6A88D24-7989-41C7-B5B5-80530370E609}" srcOrd="4" destOrd="0" presId="urn:microsoft.com/office/officeart/2005/8/layout/radial6"/>
    <dgm:cxn modelId="{F472FFB7-2D80-4B59-A565-5AEA7D391BF1}" type="presParOf" srcId="{893C353D-8F74-451E-B718-8CE64B9AD204}" destId="{E8556AE7-C2A4-41F7-AF1F-EBE194010586}" srcOrd="5" destOrd="0" presId="urn:microsoft.com/office/officeart/2005/8/layout/radial6"/>
    <dgm:cxn modelId="{77D9475F-5771-41D2-B897-891C87AE18EA}" type="presParOf" srcId="{893C353D-8F74-451E-B718-8CE64B9AD204}" destId="{74B6BB6C-DAAF-4928-85CB-F923FC960CBF}" srcOrd="6" destOrd="0" presId="urn:microsoft.com/office/officeart/2005/8/layout/radial6"/>
    <dgm:cxn modelId="{F8398EC1-2DA0-444F-9BBA-72429958688E}" type="presParOf" srcId="{893C353D-8F74-451E-B718-8CE64B9AD204}" destId="{7A9BE9B9-49D8-4453-AC96-115530523418}" srcOrd="7" destOrd="0" presId="urn:microsoft.com/office/officeart/2005/8/layout/radial6"/>
    <dgm:cxn modelId="{1C15D89D-66C2-4DF1-8A1B-FCA09543E13E}" type="presParOf" srcId="{893C353D-8F74-451E-B718-8CE64B9AD204}" destId="{038C922C-70F3-4FE8-95CC-CA25CA128494}" srcOrd="8" destOrd="0" presId="urn:microsoft.com/office/officeart/2005/8/layout/radial6"/>
    <dgm:cxn modelId="{365B0839-2A4F-44B1-AE84-73A9C5B9A771}" type="presParOf" srcId="{893C353D-8F74-451E-B718-8CE64B9AD204}" destId="{37606AD0-239E-43B7-9C26-9371C01FEAEF}" srcOrd="9" destOrd="0" presId="urn:microsoft.com/office/officeart/2005/8/layout/radial6"/>
    <dgm:cxn modelId="{D29C6A5F-96CD-4AB9-94EB-ABE28642C80C}" type="presParOf" srcId="{893C353D-8F74-451E-B718-8CE64B9AD204}" destId="{3D04955C-A07C-4D91-85B7-4DBB9700C93D}" srcOrd="10" destOrd="0" presId="urn:microsoft.com/office/officeart/2005/8/layout/radial6"/>
    <dgm:cxn modelId="{0DDBC08C-BDB8-4F61-9AD0-844762F04BE4}" type="presParOf" srcId="{893C353D-8F74-451E-B718-8CE64B9AD204}" destId="{CA597CB0-54D9-406F-AF95-50E4C1514CB0}" srcOrd="11" destOrd="0" presId="urn:microsoft.com/office/officeart/2005/8/layout/radial6"/>
    <dgm:cxn modelId="{C97DFAC6-83DA-41DB-9716-4DE90C52BCA8}" type="presParOf" srcId="{893C353D-8F74-451E-B718-8CE64B9AD204}" destId="{32DB0848-3C8D-4CD0-8043-10161CEB433A}" srcOrd="12" destOrd="0" presId="urn:microsoft.com/office/officeart/2005/8/layout/radial6"/>
    <dgm:cxn modelId="{34108303-2AC6-4CB1-B833-F8CD4CDDAAF0}" type="presParOf" srcId="{893C353D-8F74-451E-B718-8CE64B9AD204}" destId="{E86EA617-36C5-4692-AE2A-52C03756C5D7}" srcOrd="13" destOrd="0" presId="urn:microsoft.com/office/officeart/2005/8/layout/radial6"/>
    <dgm:cxn modelId="{0FA0EB40-2449-488E-9BB0-110D4A40731A}" type="presParOf" srcId="{893C353D-8F74-451E-B718-8CE64B9AD204}" destId="{1E54B5E6-44C1-43EB-B819-DD1FC643CF9E}" srcOrd="14" destOrd="0" presId="urn:microsoft.com/office/officeart/2005/8/layout/radial6"/>
    <dgm:cxn modelId="{C42BC0F6-64FC-43D2-821D-430250B90D06}" type="presParOf" srcId="{893C353D-8F74-451E-B718-8CE64B9AD204}" destId="{0FB1538B-6FDE-418C-B07C-AC1E35C62802}" srcOrd="15" destOrd="0" presId="urn:microsoft.com/office/officeart/2005/8/layout/radial6"/>
    <dgm:cxn modelId="{15EDBC20-A789-448B-A7A7-4C50BF04FB8A}" type="presParOf" srcId="{893C353D-8F74-451E-B718-8CE64B9AD204}" destId="{4C3B7C42-BFCA-4942-ACFF-0944B1C4B89C}" srcOrd="16" destOrd="0" presId="urn:microsoft.com/office/officeart/2005/8/layout/radial6"/>
    <dgm:cxn modelId="{DA8E787C-24FC-4C25-98BB-2C7AEC85BC40}" type="presParOf" srcId="{893C353D-8F74-451E-B718-8CE64B9AD204}" destId="{B769E637-D4FB-4C13-8948-7B9FA8BF4F81}" srcOrd="17" destOrd="0" presId="urn:microsoft.com/office/officeart/2005/8/layout/radial6"/>
    <dgm:cxn modelId="{B195AE4C-0A71-4555-B4E0-A01F3FD308F7}" type="presParOf" srcId="{893C353D-8F74-451E-B718-8CE64B9AD204}" destId="{6DA3B7BC-A54B-4F2E-B6BD-27A931AE9C19}" srcOrd="18" destOrd="0" presId="urn:microsoft.com/office/officeart/2005/8/layout/radial6"/>
    <dgm:cxn modelId="{FB5A1B52-6BD2-4E71-BE34-44D053673B19}" type="presParOf" srcId="{893C353D-8F74-451E-B718-8CE64B9AD204}" destId="{FB3F7FAB-16E3-483D-AB23-E3FD72FF703F}" srcOrd="19" destOrd="0" presId="urn:microsoft.com/office/officeart/2005/8/layout/radial6"/>
    <dgm:cxn modelId="{43A90015-71E9-412C-AA70-77B72E9B944B}" type="presParOf" srcId="{893C353D-8F74-451E-B718-8CE64B9AD204}" destId="{51AB25D7-A562-42A4-8DDC-479A33702B21}" srcOrd="20" destOrd="0" presId="urn:microsoft.com/office/officeart/2005/8/layout/radial6"/>
    <dgm:cxn modelId="{760FBA3E-55FE-47F9-BD44-5228C04C8D1A}" type="presParOf" srcId="{893C353D-8F74-451E-B718-8CE64B9AD204}" destId="{1CD9770B-1BFE-45C5-8ED5-B4FF9582EF9B}" srcOrd="21" destOrd="0" presId="urn:microsoft.com/office/officeart/2005/8/layout/radial6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7DDBB05-BDFA-4DB2-9F0B-29D3F0C8C000}">
      <dsp:nvSpPr>
        <dsp:cNvPr id="0" name=""/>
        <dsp:cNvSpPr/>
      </dsp:nvSpPr>
      <dsp:spPr>
        <a:xfrm>
          <a:off x="266479" y="0"/>
          <a:ext cx="8017459" cy="5010912"/>
        </a:xfrm>
        <a:prstGeom prst="swooshArrow">
          <a:avLst>
            <a:gd name="adj1" fmla="val 25000"/>
            <a:gd name="adj2" fmla="val 25000"/>
          </a:avLst>
        </a:prstGeom>
        <a:gradFill flip="none" rotWithShape="1">
          <a:gsLst>
            <a:gs pos="56000">
              <a:schemeClr val="accent5">
                <a:lumMod val="75000"/>
              </a:schemeClr>
            </a:gs>
            <a:gs pos="0">
              <a:schemeClr val="accent3"/>
            </a:gs>
            <a:gs pos="80000">
              <a:schemeClr val="accent4">
                <a:lumMod val="40000"/>
                <a:lumOff val="60000"/>
              </a:schemeClr>
            </a:gs>
          </a:gsLst>
          <a:lin ang="10800000" scaled="1"/>
          <a:tileRect/>
        </a:gra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D544C81-75E2-44D8-96FA-A6C08A2F6D90}">
      <dsp:nvSpPr>
        <dsp:cNvPr id="0" name=""/>
        <dsp:cNvSpPr/>
      </dsp:nvSpPr>
      <dsp:spPr>
        <a:xfrm>
          <a:off x="6383801" y="1016212"/>
          <a:ext cx="593291" cy="593291"/>
        </a:xfrm>
        <a:prstGeom prst="ellipse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4B85F0A-918D-4C00-A698-11D3D858B853}">
      <dsp:nvSpPr>
        <dsp:cNvPr id="0" name=""/>
        <dsp:cNvSpPr/>
      </dsp:nvSpPr>
      <dsp:spPr>
        <a:xfrm>
          <a:off x="3473463" y="1312858"/>
          <a:ext cx="3206983" cy="3698053"/>
        </a:xfrm>
        <a:prstGeom prst="round2Diag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14373" bIns="0" numCol="1" spcCol="1270" anchor="t" anchorCtr="0">
          <a:noAutofit/>
        </a:bodyPr>
        <a:lstStyle/>
        <a:p>
          <a:pPr lvl="0" algn="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200" kern="1200">
            <a:latin typeface="+mj-lt"/>
          </a:endParaRPr>
        </a:p>
      </dsp:txBody>
      <dsp:txXfrm>
        <a:off x="3630015" y="1469410"/>
        <a:ext cx="2893879" cy="3384949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7DDBB05-BDFA-4DB2-9F0B-29D3F0C8C000}">
      <dsp:nvSpPr>
        <dsp:cNvPr id="0" name=""/>
        <dsp:cNvSpPr/>
      </dsp:nvSpPr>
      <dsp:spPr>
        <a:xfrm>
          <a:off x="266479" y="0"/>
          <a:ext cx="8017459" cy="5010912"/>
        </a:xfrm>
        <a:prstGeom prst="swooshArrow">
          <a:avLst>
            <a:gd name="adj1" fmla="val 25000"/>
            <a:gd name="adj2" fmla="val 25000"/>
          </a:avLst>
        </a:prstGeom>
        <a:gradFill flip="none" rotWithShape="1">
          <a:gsLst>
            <a:gs pos="56000">
              <a:schemeClr val="accent5">
                <a:lumMod val="75000"/>
              </a:schemeClr>
            </a:gs>
            <a:gs pos="0">
              <a:schemeClr val="accent3"/>
            </a:gs>
            <a:gs pos="80000">
              <a:schemeClr val="accent4">
                <a:lumMod val="40000"/>
                <a:lumOff val="60000"/>
              </a:schemeClr>
            </a:gs>
          </a:gsLst>
          <a:lin ang="10800000" scaled="1"/>
          <a:tileRect/>
        </a:gra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D32A8BA-C528-4154-98C2-0C689BA1A28E}">
      <dsp:nvSpPr>
        <dsp:cNvPr id="0" name=""/>
        <dsp:cNvSpPr/>
      </dsp:nvSpPr>
      <dsp:spPr>
        <a:xfrm>
          <a:off x="1056199" y="3726114"/>
          <a:ext cx="184401" cy="184401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31B3ADB-5427-4272-8FC7-1A46B9B3C0B1}">
      <dsp:nvSpPr>
        <dsp:cNvPr id="0" name=""/>
        <dsp:cNvSpPr/>
      </dsp:nvSpPr>
      <dsp:spPr>
        <a:xfrm>
          <a:off x="969205" y="3966435"/>
          <a:ext cx="1408676" cy="104447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7711" tIns="0" rIns="0" bIns="0" numCol="1" spcCol="1270" anchor="t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2200" kern="1200" smtClean="0">
              <a:latin typeface="+mj-lt"/>
            </a:rPr>
            <a:t>Initial</a:t>
          </a:r>
          <a:endParaRPr lang="en-US" sz="2200" kern="1200">
            <a:latin typeface="+mj-lt"/>
          </a:endParaRPr>
        </a:p>
      </dsp:txBody>
      <dsp:txXfrm>
        <a:off x="969205" y="3966435"/>
        <a:ext cx="1408676" cy="1044476"/>
      </dsp:txXfrm>
    </dsp:sp>
    <dsp:sp modelId="{0FD5FEF3-1EF9-401D-ABE6-F788D845AF40}">
      <dsp:nvSpPr>
        <dsp:cNvPr id="0" name=""/>
        <dsp:cNvSpPr/>
      </dsp:nvSpPr>
      <dsp:spPr>
        <a:xfrm>
          <a:off x="2054373" y="2767025"/>
          <a:ext cx="288628" cy="288628"/>
        </a:xfrm>
        <a:prstGeom prst="ellipse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41DE455-84EC-443A-B076-FFA35B22B34D}">
      <dsp:nvSpPr>
        <dsp:cNvPr id="0" name=""/>
        <dsp:cNvSpPr/>
      </dsp:nvSpPr>
      <dsp:spPr>
        <a:xfrm>
          <a:off x="1867047" y="3077730"/>
          <a:ext cx="1994177" cy="176678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938" tIns="0" rIns="0" bIns="0" numCol="1" spcCol="1270" anchor="t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200" kern="1200">
            <a:latin typeface="+mj-lt"/>
          </a:endParaRPr>
        </a:p>
      </dsp:txBody>
      <dsp:txXfrm>
        <a:off x="1867047" y="3077730"/>
        <a:ext cx="1994177" cy="1766789"/>
      </dsp:txXfrm>
    </dsp:sp>
    <dsp:sp modelId="{CFF15FAC-5719-4C10-A1A3-E1C25AF45E8F}">
      <dsp:nvSpPr>
        <dsp:cNvPr id="0" name=""/>
        <dsp:cNvSpPr/>
      </dsp:nvSpPr>
      <dsp:spPr>
        <a:xfrm>
          <a:off x="3337166" y="2002360"/>
          <a:ext cx="384838" cy="384838"/>
        </a:xfrm>
        <a:prstGeom prst="ellipse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4BCD35D-9176-4EA2-8C64-FD088386FDEF}">
      <dsp:nvSpPr>
        <dsp:cNvPr id="0" name=""/>
        <dsp:cNvSpPr/>
      </dsp:nvSpPr>
      <dsp:spPr>
        <a:xfrm>
          <a:off x="3529585" y="2194779"/>
          <a:ext cx="1547369" cy="281613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3918" tIns="0" rIns="0" bIns="0" numCol="1" spcCol="1270" anchor="t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200" kern="1200">
            <a:latin typeface="+mj-lt"/>
          </a:endParaRPr>
        </a:p>
      </dsp:txBody>
      <dsp:txXfrm>
        <a:off x="3529585" y="2194779"/>
        <a:ext cx="1547369" cy="2816132"/>
      </dsp:txXfrm>
    </dsp:sp>
    <dsp:sp modelId="{BD6B94A6-E378-4D7E-97EF-20FE2AD6F1D5}">
      <dsp:nvSpPr>
        <dsp:cNvPr id="0" name=""/>
        <dsp:cNvSpPr/>
      </dsp:nvSpPr>
      <dsp:spPr>
        <a:xfrm>
          <a:off x="4828414" y="1405059"/>
          <a:ext cx="497082" cy="497082"/>
        </a:xfrm>
        <a:prstGeom prst="ellipse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85C2168-F842-498E-8ECB-28AF220805F6}">
      <dsp:nvSpPr>
        <dsp:cNvPr id="0" name=""/>
        <dsp:cNvSpPr/>
      </dsp:nvSpPr>
      <dsp:spPr>
        <a:xfrm>
          <a:off x="5076955" y="1653600"/>
          <a:ext cx="1603491" cy="33573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3394" tIns="0" rIns="0" bIns="0" numCol="1" spcCol="1270" anchor="t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200" kern="1200">
            <a:latin typeface="+mj-lt"/>
          </a:endParaRPr>
        </a:p>
      </dsp:txBody>
      <dsp:txXfrm>
        <a:off x="5076955" y="1653600"/>
        <a:ext cx="1603491" cy="3357311"/>
      </dsp:txXfrm>
    </dsp:sp>
    <dsp:sp modelId="{8480E726-5250-4A51-84BD-99A36C5B00B3}">
      <dsp:nvSpPr>
        <dsp:cNvPr id="0" name=""/>
        <dsp:cNvSpPr/>
      </dsp:nvSpPr>
      <dsp:spPr>
        <a:xfrm>
          <a:off x="6363757" y="1006191"/>
          <a:ext cx="633379" cy="633379"/>
        </a:xfrm>
        <a:prstGeom prst="ellipse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C0862F5-C9D0-460F-845D-EC41C6605AFF}">
      <dsp:nvSpPr>
        <dsp:cNvPr id="0" name=""/>
        <dsp:cNvSpPr/>
      </dsp:nvSpPr>
      <dsp:spPr>
        <a:xfrm>
          <a:off x="6680447" y="1322880"/>
          <a:ext cx="1603491" cy="368803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35615" tIns="0" rIns="0" bIns="0" numCol="1" spcCol="1270" anchor="t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200" kern="1200">
            <a:latin typeface="+mj-lt"/>
          </a:endParaRPr>
        </a:p>
      </dsp:txBody>
      <dsp:txXfrm>
        <a:off x="6680447" y="1322880"/>
        <a:ext cx="1603491" cy="3688031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7DDBB05-BDFA-4DB2-9F0B-29D3F0C8C000}">
      <dsp:nvSpPr>
        <dsp:cNvPr id="0" name=""/>
        <dsp:cNvSpPr/>
      </dsp:nvSpPr>
      <dsp:spPr>
        <a:xfrm>
          <a:off x="266479" y="0"/>
          <a:ext cx="8017459" cy="5010912"/>
        </a:xfrm>
        <a:prstGeom prst="swooshArrow">
          <a:avLst>
            <a:gd name="adj1" fmla="val 25000"/>
            <a:gd name="adj2" fmla="val 25000"/>
          </a:avLst>
        </a:prstGeom>
        <a:gradFill flip="none" rotWithShape="1">
          <a:gsLst>
            <a:gs pos="56000">
              <a:schemeClr val="accent5">
                <a:lumMod val="75000"/>
              </a:schemeClr>
            </a:gs>
            <a:gs pos="0">
              <a:schemeClr val="accent3"/>
            </a:gs>
            <a:gs pos="80000">
              <a:schemeClr val="accent4">
                <a:lumMod val="40000"/>
                <a:lumOff val="60000"/>
              </a:schemeClr>
            </a:gs>
          </a:gsLst>
          <a:lin ang="10800000" scaled="1"/>
          <a:tileRect/>
        </a:gra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D32A8BA-C528-4154-98C2-0C689BA1A28E}">
      <dsp:nvSpPr>
        <dsp:cNvPr id="0" name=""/>
        <dsp:cNvSpPr/>
      </dsp:nvSpPr>
      <dsp:spPr>
        <a:xfrm>
          <a:off x="1056199" y="3726114"/>
          <a:ext cx="184401" cy="184401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31B3ADB-5427-4272-8FC7-1A46B9B3C0B1}">
      <dsp:nvSpPr>
        <dsp:cNvPr id="0" name=""/>
        <dsp:cNvSpPr/>
      </dsp:nvSpPr>
      <dsp:spPr>
        <a:xfrm>
          <a:off x="969205" y="3966435"/>
          <a:ext cx="1408676" cy="104447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7711" tIns="0" rIns="0" bIns="0" numCol="1" spcCol="1270" anchor="t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2200" kern="1200" smtClean="0">
              <a:latin typeface="+mj-lt"/>
            </a:rPr>
            <a:t>Initial</a:t>
          </a:r>
          <a:endParaRPr lang="en-US" sz="2200" kern="1200">
            <a:latin typeface="+mj-lt"/>
          </a:endParaRPr>
        </a:p>
      </dsp:txBody>
      <dsp:txXfrm>
        <a:off x="969205" y="3966435"/>
        <a:ext cx="1408676" cy="1044476"/>
      </dsp:txXfrm>
    </dsp:sp>
    <dsp:sp modelId="{0FD5FEF3-1EF9-401D-ABE6-F788D845AF40}">
      <dsp:nvSpPr>
        <dsp:cNvPr id="0" name=""/>
        <dsp:cNvSpPr/>
      </dsp:nvSpPr>
      <dsp:spPr>
        <a:xfrm>
          <a:off x="2054373" y="2767025"/>
          <a:ext cx="288628" cy="288628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41DE455-84EC-443A-B076-FFA35B22B34D}">
      <dsp:nvSpPr>
        <dsp:cNvPr id="0" name=""/>
        <dsp:cNvSpPr/>
      </dsp:nvSpPr>
      <dsp:spPr>
        <a:xfrm>
          <a:off x="1867047" y="3077730"/>
          <a:ext cx="1994177" cy="176678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938" tIns="0" rIns="0" bIns="0" numCol="1" spcCol="1270" anchor="t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2200" kern="1200" smtClean="0">
              <a:latin typeface="+mj-lt"/>
            </a:rPr>
            <a:t>Established</a:t>
          </a:r>
          <a:endParaRPr lang="en-US" sz="2200" kern="1200">
            <a:latin typeface="+mj-lt"/>
          </a:endParaRPr>
        </a:p>
      </dsp:txBody>
      <dsp:txXfrm>
        <a:off x="1867047" y="3077730"/>
        <a:ext cx="1994177" cy="1766789"/>
      </dsp:txXfrm>
    </dsp:sp>
    <dsp:sp modelId="{CFF15FAC-5719-4C10-A1A3-E1C25AF45E8F}">
      <dsp:nvSpPr>
        <dsp:cNvPr id="0" name=""/>
        <dsp:cNvSpPr/>
      </dsp:nvSpPr>
      <dsp:spPr>
        <a:xfrm>
          <a:off x="3337166" y="2002360"/>
          <a:ext cx="384838" cy="384838"/>
        </a:xfrm>
        <a:prstGeom prst="ellipse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4BCD35D-9176-4EA2-8C64-FD088386FDEF}">
      <dsp:nvSpPr>
        <dsp:cNvPr id="0" name=""/>
        <dsp:cNvSpPr/>
      </dsp:nvSpPr>
      <dsp:spPr>
        <a:xfrm>
          <a:off x="3529585" y="2194779"/>
          <a:ext cx="1547369" cy="281613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3918" tIns="0" rIns="0" bIns="0" numCol="1" spcCol="1270" anchor="t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200" kern="1200">
            <a:latin typeface="+mj-lt"/>
          </a:endParaRPr>
        </a:p>
      </dsp:txBody>
      <dsp:txXfrm>
        <a:off x="3529585" y="2194779"/>
        <a:ext cx="1547369" cy="2816132"/>
      </dsp:txXfrm>
    </dsp:sp>
    <dsp:sp modelId="{BD6B94A6-E378-4D7E-97EF-20FE2AD6F1D5}">
      <dsp:nvSpPr>
        <dsp:cNvPr id="0" name=""/>
        <dsp:cNvSpPr/>
      </dsp:nvSpPr>
      <dsp:spPr>
        <a:xfrm>
          <a:off x="4828414" y="1405059"/>
          <a:ext cx="497082" cy="497082"/>
        </a:xfrm>
        <a:prstGeom prst="ellipse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85C2168-F842-498E-8ECB-28AF220805F6}">
      <dsp:nvSpPr>
        <dsp:cNvPr id="0" name=""/>
        <dsp:cNvSpPr/>
      </dsp:nvSpPr>
      <dsp:spPr>
        <a:xfrm>
          <a:off x="5076955" y="1653600"/>
          <a:ext cx="1603491" cy="33573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3394" tIns="0" rIns="0" bIns="0" numCol="1" spcCol="1270" anchor="t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200" kern="1200">
            <a:latin typeface="+mj-lt"/>
          </a:endParaRPr>
        </a:p>
      </dsp:txBody>
      <dsp:txXfrm>
        <a:off x="5076955" y="1653600"/>
        <a:ext cx="1603491" cy="3357311"/>
      </dsp:txXfrm>
    </dsp:sp>
    <dsp:sp modelId="{8480E726-5250-4A51-84BD-99A36C5B00B3}">
      <dsp:nvSpPr>
        <dsp:cNvPr id="0" name=""/>
        <dsp:cNvSpPr/>
      </dsp:nvSpPr>
      <dsp:spPr>
        <a:xfrm>
          <a:off x="6363757" y="1006191"/>
          <a:ext cx="633379" cy="633379"/>
        </a:xfrm>
        <a:prstGeom prst="ellipse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C0862F5-C9D0-460F-845D-EC41C6605AFF}">
      <dsp:nvSpPr>
        <dsp:cNvPr id="0" name=""/>
        <dsp:cNvSpPr/>
      </dsp:nvSpPr>
      <dsp:spPr>
        <a:xfrm>
          <a:off x="6680447" y="1322880"/>
          <a:ext cx="1603491" cy="368803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35615" tIns="0" rIns="0" bIns="0" numCol="1" spcCol="1270" anchor="t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200" kern="1200">
            <a:latin typeface="+mj-lt"/>
          </a:endParaRPr>
        </a:p>
      </dsp:txBody>
      <dsp:txXfrm>
        <a:off x="6680447" y="1322880"/>
        <a:ext cx="1603491" cy="3688031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7DDBB05-BDFA-4DB2-9F0B-29D3F0C8C000}">
      <dsp:nvSpPr>
        <dsp:cNvPr id="0" name=""/>
        <dsp:cNvSpPr/>
      </dsp:nvSpPr>
      <dsp:spPr>
        <a:xfrm>
          <a:off x="266479" y="0"/>
          <a:ext cx="8017459" cy="5010912"/>
        </a:xfrm>
        <a:prstGeom prst="swooshArrow">
          <a:avLst>
            <a:gd name="adj1" fmla="val 25000"/>
            <a:gd name="adj2" fmla="val 25000"/>
          </a:avLst>
        </a:prstGeom>
        <a:gradFill flip="none" rotWithShape="1">
          <a:gsLst>
            <a:gs pos="56000">
              <a:schemeClr val="accent5">
                <a:lumMod val="75000"/>
              </a:schemeClr>
            </a:gs>
            <a:gs pos="0">
              <a:schemeClr val="accent3"/>
            </a:gs>
            <a:gs pos="80000">
              <a:schemeClr val="accent4">
                <a:lumMod val="40000"/>
                <a:lumOff val="60000"/>
              </a:schemeClr>
            </a:gs>
          </a:gsLst>
          <a:lin ang="10800000" scaled="1"/>
          <a:tileRect/>
        </a:gra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D32A8BA-C528-4154-98C2-0C689BA1A28E}">
      <dsp:nvSpPr>
        <dsp:cNvPr id="0" name=""/>
        <dsp:cNvSpPr/>
      </dsp:nvSpPr>
      <dsp:spPr>
        <a:xfrm>
          <a:off x="1056199" y="3726114"/>
          <a:ext cx="184401" cy="184401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31B3ADB-5427-4272-8FC7-1A46B9B3C0B1}">
      <dsp:nvSpPr>
        <dsp:cNvPr id="0" name=""/>
        <dsp:cNvSpPr/>
      </dsp:nvSpPr>
      <dsp:spPr>
        <a:xfrm>
          <a:off x="969205" y="3966435"/>
          <a:ext cx="1408676" cy="104447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7711" tIns="0" rIns="0" bIns="0" numCol="1" spcCol="1270" anchor="t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2200" kern="1200" smtClean="0">
              <a:latin typeface="+mj-lt"/>
            </a:rPr>
            <a:t>Initial</a:t>
          </a:r>
          <a:endParaRPr lang="en-US" sz="2200" kern="1200">
            <a:latin typeface="+mj-lt"/>
          </a:endParaRPr>
        </a:p>
      </dsp:txBody>
      <dsp:txXfrm>
        <a:off x="969205" y="3966435"/>
        <a:ext cx="1408676" cy="1044476"/>
      </dsp:txXfrm>
    </dsp:sp>
    <dsp:sp modelId="{0FD5FEF3-1EF9-401D-ABE6-F788D845AF40}">
      <dsp:nvSpPr>
        <dsp:cNvPr id="0" name=""/>
        <dsp:cNvSpPr/>
      </dsp:nvSpPr>
      <dsp:spPr>
        <a:xfrm>
          <a:off x="2054373" y="2767025"/>
          <a:ext cx="288628" cy="288628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41DE455-84EC-443A-B076-FFA35B22B34D}">
      <dsp:nvSpPr>
        <dsp:cNvPr id="0" name=""/>
        <dsp:cNvSpPr/>
      </dsp:nvSpPr>
      <dsp:spPr>
        <a:xfrm>
          <a:off x="1867047" y="3077730"/>
          <a:ext cx="1994177" cy="176678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938" tIns="0" rIns="0" bIns="0" numCol="1" spcCol="1270" anchor="t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2200" kern="1200" smtClean="0">
              <a:latin typeface="+mj-lt"/>
            </a:rPr>
            <a:t>Established</a:t>
          </a:r>
          <a:endParaRPr lang="en-US" sz="2200" kern="1200">
            <a:latin typeface="+mj-lt"/>
          </a:endParaRPr>
        </a:p>
      </dsp:txBody>
      <dsp:txXfrm>
        <a:off x="1867047" y="3077730"/>
        <a:ext cx="1994177" cy="1766789"/>
      </dsp:txXfrm>
    </dsp:sp>
    <dsp:sp modelId="{CFF15FAC-5719-4C10-A1A3-E1C25AF45E8F}">
      <dsp:nvSpPr>
        <dsp:cNvPr id="0" name=""/>
        <dsp:cNvSpPr/>
      </dsp:nvSpPr>
      <dsp:spPr>
        <a:xfrm>
          <a:off x="3337166" y="2002360"/>
          <a:ext cx="384838" cy="384838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4BCD35D-9176-4EA2-8C64-FD088386FDEF}">
      <dsp:nvSpPr>
        <dsp:cNvPr id="0" name=""/>
        <dsp:cNvSpPr/>
      </dsp:nvSpPr>
      <dsp:spPr>
        <a:xfrm>
          <a:off x="3529585" y="2194779"/>
          <a:ext cx="1547369" cy="281613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3918" tIns="0" rIns="0" bIns="0" numCol="1" spcCol="1270" anchor="t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2200" kern="1200" smtClean="0">
              <a:latin typeface="+mj-lt"/>
            </a:rPr>
            <a:t>Grown up</a:t>
          </a:r>
          <a:endParaRPr lang="en-US" sz="2200" kern="1200">
            <a:latin typeface="+mj-lt"/>
          </a:endParaRPr>
        </a:p>
      </dsp:txBody>
      <dsp:txXfrm>
        <a:off x="3529585" y="2194779"/>
        <a:ext cx="1547369" cy="2816132"/>
      </dsp:txXfrm>
    </dsp:sp>
    <dsp:sp modelId="{BD6B94A6-E378-4D7E-97EF-20FE2AD6F1D5}">
      <dsp:nvSpPr>
        <dsp:cNvPr id="0" name=""/>
        <dsp:cNvSpPr/>
      </dsp:nvSpPr>
      <dsp:spPr>
        <a:xfrm>
          <a:off x="4828414" y="1405059"/>
          <a:ext cx="497082" cy="497082"/>
        </a:xfrm>
        <a:prstGeom prst="ellipse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85C2168-F842-498E-8ECB-28AF220805F6}">
      <dsp:nvSpPr>
        <dsp:cNvPr id="0" name=""/>
        <dsp:cNvSpPr/>
      </dsp:nvSpPr>
      <dsp:spPr>
        <a:xfrm>
          <a:off x="5076955" y="1653600"/>
          <a:ext cx="1603491" cy="33573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3394" tIns="0" rIns="0" bIns="0" numCol="1" spcCol="1270" anchor="t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200" kern="1200">
            <a:latin typeface="+mj-lt"/>
          </a:endParaRPr>
        </a:p>
      </dsp:txBody>
      <dsp:txXfrm>
        <a:off x="5076955" y="1653600"/>
        <a:ext cx="1603491" cy="3357311"/>
      </dsp:txXfrm>
    </dsp:sp>
    <dsp:sp modelId="{8480E726-5250-4A51-84BD-99A36C5B00B3}">
      <dsp:nvSpPr>
        <dsp:cNvPr id="0" name=""/>
        <dsp:cNvSpPr/>
      </dsp:nvSpPr>
      <dsp:spPr>
        <a:xfrm>
          <a:off x="6363757" y="1006191"/>
          <a:ext cx="633379" cy="633379"/>
        </a:xfrm>
        <a:prstGeom prst="ellipse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C0862F5-C9D0-460F-845D-EC41C6605AFF}">
      <dsp:nvSpPr>
        <dsp:cNvPr id="0" name=""/>
        <dsp:cNvSpPr/>
      </dsp:nvSpPr>
      <dsp:spPr>
        <a:xfrm>
          <a:off x="6680447" y="1322880"/>
          <a:ext cx="1603491" cy="368803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35615" tIns="0" rIns="0" bIns="0" numCol="1" spcCol="1270" anchor="t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200" kern="1200">
            <a:latin typeface="+mj-lt"/>
          </a:endParaRPr>
        </a:p>
      </dsp:txBody>
      <dsp:txXfrm>
        <a:off x="6680447" y="1322880"/>
        <a:ext cx="1603491" cy="3688031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7DDBB05-BDFA-4DB2-9F0B-29D3F0C8C000}">
      <dsp:nvSpPr>
        <dsp:cNvPr id="0" name=""/>
        <dsp:cNvSpPr/>
      </dsp:nvSpPr>
      <dsp:spPr>
        <a:xfrm>
          <a:off x="266479" y="0"/>
          <a:ext cx="8017459" cy="5010912"/>
        </a:xfrm>
        <a:prstGeom prst="swooshArrow">
          <a:avLst>
            <a:gd name="adj1" fmla="val 25000"/>
            <a:gd name="adj2" fmla="val 25000"/>
          </a:avLst>
        </a:prstGeom>
        <a:gradFill flip="none" rotWithShape="1">
          <a:gsLst>
            <a:gs pos="56000">
              <a:schemeClr val="accent5">
                <a:lumMod val="75000"/>
              </a:schemeClr>
            </a:gs>
            <a:gs pos="0">
              <a:schemeClr val="accent3"/>
            </a:gs>
            <a:gs pos="80000">
              <a:schemeClr val="accent4">
                <a:lumMod val="40000"/>
                <a:lumOff val="60000"/>
              </a:schemeClr>
            </a:gs>
          </a:gsLst>
          <a:lin ang="10800000" scaled="1"/>
          <a:tileRect/>
        </a:gra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D32A8BA-C528-4154-98C2-0C689BA1A28E}">
      <dsp:nvSpPr>
        <dsp:cNvPr id="0" name=""/>
        <dsp:cNvSpPr/>
      </dsp:nvSpPr>
      <dsp:spPr>
        <a:xfrm>
          <a:off x="1056199" y="3726114"/>
          <a:ext cx="184401" cy="184401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31B3ADB-5427-4272-8FC7-1A46B9B3C0B1}">
      <dsp:nvSpPr>
        <dsp:cNvPr id="0" name=""/>
        <dsp:cNvSpPr/>
      </dsp:nvSpPr>
      <dsp:spPr>
        <a:xfrm>
          <a:off x="969205" y="3966435"/>
          <a:ext cx="1408676" cy="104447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7711" tIns="0" rIns="0" bIns="0" numCol="1" spcCol="1270" anchor="t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2200" kern="1200" smtClean="0">
              <a:latin typeface="+mj-lt"/>
            </a:rPr>
            <a:t>Initial</a:t>
          </a:r>
          <a:endParaRPr lang="en-US" sz="2200" kern="1200">
            <a:latin typeface="+mj-lt"/>
          </a:endParaRPr>
        </a:p>
      </dsp:txBody>
      <dsp:txXfrm>
        <a:off x="969205" y="3966435"/>
        <a:ext cx="1408676" cy="1044476"/>
      </dsp:txXfrm>
    </dsp:sp>
    <dsp:sp modelId="{0FD5FEF3-1EF9-401D-ABE6-F788D845AF40}">
      <dsp:nvSpPr>
        <dsp:cNvPr id="0" name=""/>
        <dsp:cNvSpPr/>
      </dsp:nvSpPr>
      <dsp:spPr>
        <a:xfrm>
          <a:off x="2054373" y="2767025"/>
          <a:ext cx="288628" cy="288628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41DE455-84EC-443A-B076-FFA35B22B34D}">
      <dsp:nvSpPr>
        <dsp:cNvPr id="0" name=""/>
        <dsp:cNvSpPr/>
      </dsp:nvSpPr>
      <dsp:spPr>
        <a:xfrm>
          <a:off x="1867047" y="3077730"/>
          <a:ext cx="1994177" cy="176678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938" tIns="0" rIns="0" bIns="0" numCol="1" spcCol="1270" anchor="t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2200" kern="1200" smtClean="0">
              <a:latin typeface="+mj-lt"/>
            </a:rPr>
            <a:t>Established</a:t>
          </a:r>
          <a:endParaRPr lang="en-US" sz="2200" kern="1200">
            <a:latin typeface="+mj-lt"/>
          </a:endParaRPr>
        </a:p>
      </dsp:txBody>
      <dsp:txXfrm>
        <a:off x="1867047" y="3077730"/>
        <a:ext cx="1994177" cy="1766789"/>
      </dsp:txXfrm>
    </dsp:sp>
    <dsp:sp modelId="{CFF15FAC-5719-4C10-A1A3-E1C25AF45E8F}">
      <dsp:nvSpPr>
        <dsp:cNvPr id="0" name=""/>
        <dsp:cNvSpPr/>
      </dsp:nvSpPr>
      <dsp:spPr>
        <a:xfrm>
          <a:off x="3337166" y="2002360"/>
          <a:ext cx="384838" cy="384838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4BCD35D-9176-4EA2-8C64-FD088386FDEF}">
      <dsp:nvSpPr>
        <dsp:cNvPr id="0" name=""/>
        <dsp:cNvSpPr/>
      </dsp:nvSpPr>
      <dsp:spPr>
        <a:xfrm>
          <a:off x="3529585" y="2194779"/>
          <a:ext cx="1547369" cy="281613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3918" tIns="0" rIns="0" bIns="0" numCol="1" spcCol="1270" anchor="t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2200" kern="1200" smtClean="0">
              <a:latin typeface="+mj-lt"/>
            </a:rPr>
            <a:t>Grown up</a:t>
          </a:r>
          <a:endParaRPr lang="en-US" sz="2200" kern="1200">
            <a:latin typeface="+mj-lt"/>
          </a:endParaRPr>
        </a:p>
      </dsp:txBody>
      <dsp:txXfrm>
        <a:off x="3529585" y="2194779"/>
        <a:ext cx="1547369" cy="2816132"/>
      </dsp:txXfrm>
    </dsp:sp>
    <dsp:sp modelId="{BD6B94A6-E378-4D7E-97EF-20FE2AD6F1D5}">
      <dsp:nvSpPr>
        <dsp:cNvPr id="0" name=""/>
        <dsp:cNvSpPr/>
      </dsp:nvSpPr>
      <dsp:spPr>
        <a:xfrm>
          <a:off x="4828414" y="1405059"/>
          <a:ext cx="497082" cy="497082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85C2168-F842-498E-8ECB-28AF220805F6}">
      <dsp:nvSpPr>
        <dsp:cNvPr id="0" name=""/>
        <dsp:cNvSpPr/>
      </dsp:nvSpPr>
      <dsp:spPr>
        <a:xfrm>
          <a:off x="5076955" y="1653600"/>
          <a:ext cx="1603491" cy="33573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3394" tIns="0" rIns="0" bIns="0" numCol="1" spcCol="1270" anchor="t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2200" kern="1200" smtClean="0">
              <a:latin typeface="+mj-lt"/>
            </a:rPr>
            <a:t>Mature</a:t>
          </a:r>
          <a:endParaRPr lang="en-US" sz="2200" kern="1200">
            <a:latin typeface="+mj-lt"/>
          </a:endParaRPr>
        </a:p>
      </dsp:txBody>
      <dsp:txXfrm>
        <a:off x="5076955" y="1653600"/>
        <a:ext cx="1603491" cy="3357311"/>
      </dsp:txXfrm>
    </dsp:sp>
    <dsp:sp modelId="{8480E726-5250-4A51-84BD-99A36C5B00B3}">
      <dsp:nvSpPr>
        <dsp:cNvPr id="0" name=""/>
        <dsp:cNvSpPr/>
      </dsp:nvSpPr>
      <dsp:spPr>
        <a:xfrm>
          <a:off x="6363757" y="1006191"/>
          <a:ext cx="633379" cy="633379"/>
        </a:xfrm>
        <a:prstGeom prst="ellipse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C0862F5-C9D0-460F-845D-EC41C6605AFF}">
      <dsp:nvSpPr>
        <dsp:cNvPr id="0" name=""/>
        <dsp:cNvSpPr/>
      </dsp:nvSpPr>
      <dsp:spPr>
        <a:xfrm>
          <a:off x="6680447" y="1322880"/>
          <a:ext cx="1603491" cy="368803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35615" tIns="0" rIns="0" bIns="0" numCol="1" spcCol="1270" anchor="t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200" kern="1200">
            <a:latin typeface="+mj-lt"/>
          </a:endParaRPr>
        </a:p>
      </dsp:txBody>
      <dsp:txXfrm>
        <a:off x="6680447" y="1322880"/>
        <a:ext cx="1603491" cy="3688031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7DDBB05-BDFA-4DB2-9F0B-29D3F0C8C000}">
      <dsp:nvSpPr>
        <dsp:cNvPr id="0" name=""/>
        <dsp:cNvSpPr/>
      </dsp:nvSpPr>
      <dsp:spPr>
        <a:xfrm>
          <a:off x="266479" y="0"/>
          <a:ext cx="8017459" cy="5010912"/>
        </a:xfrm>
        <a:prstGeom prst="swooshArrow">
          <a:avLst>
            <a:gd name="adj1" fmla="val 25000"/>
            <a:gd name="adj2" fmla="val 25000"/>
          </a:avLst>
        </a:prstGeom>
        <a:gradFill flip="none" rotWithShape="1">
          <a:gsLst>
            <a:gs pos="56000">
              <a:schemeClr val="accent5">
                <a:lumMod val="75000"/>
              </a:schemeClr>
            </a:gs>
            <a:gs pos="0">
              <a:schemeClr val="accent3"/>
            </a:gs>
            <a:gs pos="80000">
              <a:schemeClr val="accent4">
                <a:lumMod val="40000"/>
                <a:lumOff val="60000"/>
              </a:schemeClr>
            </a:gs>
          </a:gsLst>
          <a:lin ang="10800000" scaled="1"/>
          <a:tileRect/>
        </a:gra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D32A8BA-C528-4154-98C2-0C689BA1A28E}">
      <dsp:nvSpPr>
        <dsp:cNvPr id="0" name=""/>
        <dsp:cNvSpPr/>
      </dsp:nvSpPr>
      <dsp:spPr>
        <a:xfrm>
          <a:off x="1056199" y="3726114"/>
          <a:ext cx="184401" cy="184401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31B3ADB-5427-4272-8FC7-1A46B9B3C0B1}">
      <dsp:nvSpPr>
        <dsp:cNvPr id="0" name=""/>
        <dsp:cNvSpPr/>
      </dsp:nvSpPr>
      <dsp:spPr>
        <a:xfrm>
          <a:off x="969205" y="3966435"/>
          <a:ext cx="1408676" cy="104447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7711" tIns="0" rIns="0" bIns="0" numCol="1" spcCol="1270" anchor="t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2200" kern="1200" smtClean="0">
              <a:latin typeface="+mj-lt"/>
            </a:rPr>
            <a:t>Initial</a:t>
          </a:r>
          <a:endParaRPr lang="en-US" sz="2200" kern="1200">
            <a:latin typeface="+mj-lt"/>
          </a:endParaRPr>
        </a:p>
      </dsp:txBody>
      <dsp:txXfrm>
        <a:off x="969205" y="3966435"/>
        <a:ext cx="1408676" cy="1044476"/>
      </dsp:txXfrm>
    </dsp:sp>
    <dsp:sp modelId="{0FD5FEF3-1EF9-401D-ABE6-F788D845AF40}">
      <dsp:nvSpPr>
        <dsp:cNvPr id="0" name=""/>
        <dsp:cNvSpPr/>
      </dsp:nvSpPr>
      <dsp:spPr>
        <a:xfrm>
          <a:off x="2054373" y="2767025"/>
          <a:ext cx="288628" cy="288628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41DE455-84EC-443A-B076-FFA35B22B34D}">
      <dsp:nvSpPr>
        <dsp:cNvPr id="0" name=""/>
        <dsp:cNvSpPr/>
      </dsp:nvSpPr>
      <dsp:spPr>
        <a:xfrm>
          <a:off x="1867047" y="3077730"/>
          <a:ext cx="1994177" cy="176678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938" tIns="0" rIns="0" bIns="0" numCol="1" spcCol="1270" anchor="t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2200" kern="1200" smtClean="0">
              <a:latin typeface="+mj-lt"/>
            </a:rPr>
            <a:t>Established</a:t>
          </a:r>
          <a:endParaRPr lang="en-US" sz="2200" kern="1200">
            <a:latin typeface="+mj-lt"/>
          </a:endParaRPr>
        </a:p>
      </dsp:txBody>
      <dsp:txXfrm>
        <a:off x="1867047" y="3077730"/>
        <a:ext cx="1994177" cy="1766789"/>
      </dsp:txXfrm>
    </dsp:sp>
    <dsp:sp modelId="{CFF15FAC-5719-4C10-A1A3-E1C25AF45E8F}">
      <dsp:nvSpPr>
        <dsp:cNvPr id="0" name=""/>
        <dsp:cNvSpPr/>
      </dsp:nvSpPr>
      <dsp:spPr>
        <a:xfrm>
          <a:off x="3337166" y="2002360"/>
          <a:ext cx="384838" cy="384838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4BCD35D-9176-4EA2-8C64-FD088386FDEF}">
      <dsp:nvSpPr>
        <dsp:cNvPr id="0" name=""/>
        <dsp:cNvSpPr/>
      </dsp:nvSpPr>
      <dsp:spPr>
        <a:xfrm>
          <a:off x="3529585" y="2194779"/>
          <a:ext cx="1547369" cy="281613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3918" tIns="0" rIns="0" bIns="0" numCol="1" spcCol="1270" anchor="t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2200" kern="1200" smtClean="0">
              <a:latin typeface="+mj-lt"/>
            </a:rPr>
            <a:t>Grown up</a:t>
          </a:r>
          <a:endParaRPr lang="en-US" sz="2200" kern="1200">
            <a:latin typeface="+mj-lt"/>
          </a:endParaRPr>
        </a:p>
      </dsp:txBody>
      <dsp:txXfrm>
        <a:off x="3529585" y="2194779"/>
        <a:ext cx="1547369" cy="2816132"/>
      </dsp:txXfrm>
    </dsp:sp>
    <dsp:sp modelId="{BD6B94A6-E378-4D7E-97EF-20FE2AD6F1D5}">
      <dsp:nvSpPr>
        <dsp:cNvPr id="0" name=""/>
        <dsp:cNvSpPr/>
      </dsp:nvSpPr>
      <dsp:spPr>
        <a:xfrm>
          <a:off x="4828414" y="1405059"/>
          <a:ext cx="497082" cy="497082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85C2168-F842-498E-8ECB-28AF220805F6}">
      <dsp:nvSpPr>
        <dsp:cNvPr id="0" name=""/>
        <dsp:cNvSpPr/>
      </dsp:nvSpPr>
      <dsp:spPr>
        <a:xfrm>
          <a:off x="5076955" y="1653600"/>
          <a:ext cx="1603491" cy="33573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3394" tIns="0" rIns="0" bIns="0" numCol="1" spcCol="1270" anchor="t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2200" kern="1200" smtClean="0">
              <a:latin typeface="+mj-lt"/>
            </a:rPr>
            <a:t>Mature</a:t>
          </a:r>
          <a:endParaRPr lang="en-US" sz="2200" kern="1200">
            <a:latin typeface="+mj-lt"/>
          </a:endParaRPr>
        </a:p>
      </dsp:txBody>
      <dsp:txXfrm>
        <a:off x="5076955" y="1653600"/>
        <a:ext cx="1603491" cy="3357311"/>
      </dsp:txXfrm>
    </dsp:sp>
    <dsp:sp modelId="{8480E726-5250-4A51-84BD-99A36C5B00B3}">
      <dsp:nvSpPr>
        <dsp:cNvPr id="0" name=""/>
        <dsp:cNvSpPr/>
      </dsp:nvSpPr>
      <dsp:spPr>
        <a:xfrm>
          <a:off x="6363757" y="1006191"/>
          <a:ext cx="633379" cy="633379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C0862F5-C9D0-460F-845D-EC41C6605AFF}">
      <dsp:nvSpPr>
        <dsp:cNvPr id="0" name=""/>
        <dsp:cNvSpPr/>
      </dsp:nvSpPr>
      <dsp:spPr>
        <a:xfrm>
          <a:off x="6680447" y="1322880"/>
          <a:ext cx="1603491" cy="368803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35615" tIns="0" rIns="0" bIns="0" numCol="1" spcCol="1270" anchor="t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2200" kern="1200" smtClean="0">
              <a:latin typeface="+mj-lt"/>
            </a:rPr>
            <a:t>Best in class</a:t>
          </a:r>
          <a:endParaRPr lang="en-US" sz="2200" kern="1200">
            <a:latin typeface="+mj-lt"/>
          </a:endParaRPr>
        </a:p>
      </dsp:txBody>
      <dsp:txXfrm>
        <a:off x="6680447" y="1322880"/>
        <a:ext cx="1603491" cy="3688031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D9770B-1BFE-45C5-8ED5-B4FF9582EF9B}">
      <dsp:nvSpPr>
        <dsp:cNvPr id="0" name=""/>
        <dsp:cNvSpPr/>
      </dsp:nvSpPr>
      <dsp:spPr>
        <a:xfrm>
          <a:off x="2204558" y="684810"/>
          <a:ext cx="5437333" cy="5437333"/>
        </a:xfrm>
        <a:prstGeom prst="blockArc">
          <a:avLst>
            <a:gd name="adj1" fmla="val 13114286"/>
            <a:gd name="adj2" fmla="val 16200000"/>
            <a:gd name="adj3" fmla="val 3904"/>
          </a:avLst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6DA3B7BC-A54B-4F2E-B6BD-27A931AE9C19}">
      <dsp:nvSpPr>
        <dsp:cNvPr id="0" name=""/>
        <dsp:cNvSpPr/>
      </dsp:nvSpPr>
      <dsp:spPr>
        <a:xfrm>
          <a:off x="2204558" y="684810"/>
          <a:ext cx="5437333" cy="5437333"/>
        </a:xfrm>
        <a:prstGeom prst="blockArc">
          <a:avLst>
            <a:gd name="adj1" fmla="val 10028571"/>
            <a:gd name="adj2" fmla="val 13114286"/>
            <a:gd name="adj3" fmla="val 3904"/>
          </a:avLst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0FB1538B-6FDE-418C-B07C-AC1E35C62802}">
      <dsp:nvSpPr>
        <dsp:cNvPr id="0" name=""/>
        <dsp:cNvSpPr/>
      </dsp:nvSpPr>
      <dsp:spPr>
        <a:xfrm>
          <a:off x="2204558" y="684810"/>
          <a:ext cx="5437333" cy="5437333"/>
        </a:xfrm>
        <a:prstGeom prst="blockArc">
          <a:avLst>
            <a:gd name="adj1" fmla="val 6942857"/>
            <a:gd name="adj2" fmla="val 10028571"/>
            <a:gd name="adj3" fmla="val 3904"/>
          </a:avLst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6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32DB0848-3C8D-4CD0-8043-10161CEB433A}">
      <dsp:nvSpPr>
        <dsp:cNvPr id="0" name=""/>
        <dsp:cNvSpPr/>
      </dsp:nvSpPr>
      <dsp:spPr>
        <a:xfrm>
          <a:off x="1449584" y="446057"/>
          <a:ext cx="6947281" cy="5914840"/>
        </a:xfrm>
        <a:prstGeom prst="blockArc">
          <a:avLst>
            <a:gd name="adj1" fmla="val 3857143"/>
            <a:gd name="adj2" fmla="val 6942857"/>
            <a:gd name="adj3" fmla="val 3904"/>
          </a:avLst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5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37606AD0-239E-43B7-9C26-9371C01FEAEF}">
      <dsp:nvSpPr>
        <dsp:cNvPr id="0" name=""/>
        <dsp:cNvSpPr/>
      </dsp:nvSpPr>
      <dsp:spPr>
        <a:xfrm>
          <a:off x="2204558" y="684810"/>
          <a:ext cx="5437333" cy="5437333"/>
        </a:xfrm>
        <a:prstGeom prst="blockArc">
          <a:avLst>
            <a:gd name="adj1" fmla="val 771429"/>
            <a:gd name="adj2" fmla="val 3857143"/>
            <a:gd name="adj3" fmla="val 3904"/>
          </a:avLst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4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74B6BB6C-DAAF-4928-85CB-F923FC960CBF}">
      <dsp:nvSpPr>
        <dsp:cNvPr id="0" name=""/>
        <dsp:cNvSpPr/>
      </dsp:nvSpPr>
      <dsp:spPr>
        <a:xfrm>
          <a:off x="2204558" y="684810"/>
          <a:ext cx="5437333" cy="5437333"/>
        </a:xfrm>
        <a:prstGeom prst="blockArc">
          <a:avLst>
            <a:gd name="adj1" fmla="val 19285714"/>
            <a:gd name="adj2" fmla="val 771429"/>
            <a:gd name="adj3" fmla="val 3904"/>
          </a:avLst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90A6F6C8-714D-4CCB-ACCE-C82BCBAD4F85}">
      <dsp:nvSpPr>
        <dsp:cNvPr id="0" name=""/>
        <dsp:cNvSpPr/>
      </dsp:nvSpPr>
      <dsp:spPr>
        <a:xfrm>
          <a:off x="2204558" y="684810"/>
          <a:ext cx="5437333" cy="5437333"/>
        </a:xfrm>
        <a:prstGeom prst="blockArc">
          <a:avLst>
            <a:gd name="adj1" fmla="val 16200000"/>
            <a:gd name="adj2" fmla="val 19285714"/>
            <a:gd name="adj3" fmla="val 3904"/>
          </a:avLst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7552FECF-6F99-4711-8679-EC9174465DEC}">
      <dsp:nvSpPr>
        <dsp:cNvPr id="0" name=""/>
        <dsp:cNvSpPr/>
      </dsp:nvSpPr>
      <dsp:spPr>
        <a:xfrm>
          <a:off x="3581826" y="1889166"/>
          <a:ext cx="2523713" cy="2493263"/>
        </a:xfrm>
        <a:prstGeom prst="ellipse">
          <a:avLst/>
        </a:prstGeom>
        <a:solidFill>
          <a:schemeClr val="lt1">
            <a:hueOff val="0"/>
            <a:satOff val="0"/>
            <a:lumOff val="0"/>
            <a:alpha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2550" tIns="82550" rIns="82550" bIns="82550" numCol="1" spcCol="1270" anchor="ctr" anchorCtr="0">
          <a:noAutofit/>
        </a:bodyPr>
        <a:lstStyle/>
        <a:p>
          <a:pPr lvl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6500" kern="1200" smtClean="0"/>
            <a:t> </a:t>
          </a:r>
          <a:endParaRPr lang="en-US" sz="6500" kern="1200"/>
        </a:p>
      </dsp:txBody>
      <dsp:txXfrm>
        <a:off x="3951415" y="2254296"/>
        <a:ext cx="1784535" cy="1763003"/>
      </dsp:txXfrm>
    </dsp:sp>
    <dsp:sp modelId="{665DB003-157E-4D6A-BD06-7268E5FE3739}">
      <dsp:nvSpPr>
        <dsp:cNvPr id="0" name=""/>
        <dsp:cNvSpPr/>
      </dsp:nvSpPr>
      <dsp:spPr>
        <a:xfrm>
          <a:off x="4186183" y="836"/>
          <a:ext cx="1474082" cy="1474082"/>
        </a:xfrm>
        <a:prstGeom prst="ellipse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1300" kern="1200" smtClean="0">
              <a:latin typeface="+mj-lt"/>
            </a:rPr>
            <a:t>Project management</a:t>
          </a:r>
          <a:endParaRPr lang="en-US" sz="1300" kern="1200">
            <a:latin typeface="+mj-lt"/>
          </a:endParaRPr>
        </a:p>
      </dsp:txBody>
      <dsp:txXfrm>
        <a:off x="4402057" y="216710"/>
        <a:ext cx="1042334" cy="1042334"/>
      </dsp:txXfrm>
    </dsp:sp>
    <dsp:sp modelId="{A6A88D24-7989-41C7-B5B5-80530370E609}">
      <dsp:nvSpPr>
        <dsp:cNvPr id="0" name=""/>
        <dsp:cNvSpPr/>
      </dsp:nvSpPr>
      <dsp:spPr>
        <a:xfrm>
          <a:off x="6270233" y="1004461"/>
          <a:ext cx="1474082" cy="1474082"/>
        </a:xfrm>
        <a:prstGeom prst="ellipse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1300" kern="1200" smtClean="0">
              <a:latin typeface="+mj-lt"/>
            </a:rPr>
            <a:t>Resource management</a:t>
          </a:r>
          <a:endParaRPr lang="en-US" sz="1300" kern="1200">
            <a:latin typeface="+mj-lt"/>
          </a:endParaRPr>
        </a:p>
      </dsp:txBody>
      <dsp:txXfrm>
        <a:off x="6486107" y="1220335"/>
        <a:ext cx="1042334" cy="1042334"/>
      </dsp:txXfrm>
    </dsp:sp>
    <dsp:sp modelId="{7A9BE9B9-49D8-4453-AC96-115530523418}">
      <dsp:nvSpPr>
        <dsp:cNvPr id="0" name=""/>
        <dsp:cNvSpPr/>
      </dsp:nvSpPr>
      <dsp:spPr>
        <a:xfrm>
          <a:off x="6784951" y="3259588"/>
          <a:ext cx="1474082" cy="1474082"/>
        </a:xfrm>
        <a:prstGeom prst="ellipse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4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1300" kern="1200" smtClean="0">
              <a:latin typeface="+mj-lt"/>
            </a:rPr>
            <a:t>Project information</a:t>
          </a:r>
          <a:endParaRPr lang="en-US" sz="1300" kern="1200">
            <a:latin typeface="+mj-lt"/>
          </a:endParaRPr>
        </a:p>
      </dsp:txBody>
      <dsp:txXfrm>
        <a:off x="7000825" y="3475462"/>
        <a:ext cx="1042334" cy="1042334"/>
      </dsp:txXfrm>
    </dsp:sp>
    <dsp:sp modelId="{3D04955C-A07C-4D91-85B7-4DBB9700C93D}">
      <dsp:nvSpPr>
        <dsp:cNvPr id="0" name=""/>
        <dsp:cNvSpPr/>
      </dsp:nvSpPr>
      <dsp:spPr>
        <a:xfrm>
          <a:off x="5342744" y="5068058"/>
          <a:ext cx="1474082" cy="1474082"/>
        </a:xfrm>
        <a:prstGeom prst="ellipse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5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1300" kern="1200" smtClean="0">
              <a:latin typeface="+mj-lt"/>
            </a:rPr>
            <a:t>Reporting</a:t>
          </a:r>
          <a:endParaRPr lang="en-US" sz="1300" kern="1200">
            <a:latin typeface="+mj-lt"/>
          </a:endParaRPr>
        </a:p>
      </dsp:txBody>
      <dsp:txXfrm>
        <a:off x="5558618" y="5283932"/>
        <a:ext cx="1042334" cy="1042334"/>
      </dsp:txXfrm>
    </dsp:sp>
    <dsp:sp modelId="{E86EA617-36C5-4692-AE2A-52C03756C5D7}">
      <dsp:nvSpPr>
        <dsp:cNvPr id="0" name=""/>
        <dsp:cNvSpPr/>
      </dsp:nvSpPr>
      <dsp:spPr>
        <a:xfrm>
          <a:off x="3029623" y="5068058"/>
          <a:ext cx="1474082" cy="1474082"/>
        </a:xfrm>
        <a:prstGeom prst="ellipse">
          <a:avLst/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6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1300" kern="1200" smtClean="0">
              <a:latin typeface="+mj-lt"/>
            </a:rPr>
            <a:t>Cost management</a:t>
          </a:r>
          <a:endParaRPr lang="en-US" sz="1300" kern="1200">
            <a:latin typeface="+mj-lt"/>
          </a:endParaRPr>
        </a:p>
      </dsp:txBody>
      <dsp:txXfrm>
        <a:off x="3245497" y="5283932"/>
        <a:ext cx="1042334" cy="1042334"/>
      </dsp:txXfrm>
    </dsp:sp>
    <dsp:sp modelId="{4C3B7C42-BFCA-4942-ACFF-0944B1C4B89C}">
      <dsp:nvSpPr>
        <dsp:cNvPr id="0" name=""/>
        <dsp:cNvSpPr/>
      </dsp:nvSpPr>
      <dsp:spPr>
        <a:xfrm>
          <a:off x="1587415" y="3259588"/>
          <a:ext cx="1474082" cy="1474082"/>
        </a:xfrm>
        <a:prstGeom prst="ellipse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1300" kern="1200" smtClean="0">
              <a:latin typeface="+mj-lt"/>
            </a:rPr>
            <a:t>Support</a:t>
          </a:r>
          <a:endParaRPr lang="en-US" sz="1300" kern="1200">
            <a:latin typeface="+mj-lt"/>
          </a:endParaRPr>
        </a:p>
      </dsp:txBody>
      <dsp:txXfrm>
        <a:off x="1803289" y="3475462"/>
        <a:ext cx="1042334" cy="1042334"/>
      </dsp:txXfrm>
    </dsp:sp>
    <dsp:sp modelId="{FB3F7FAB-16E3-483D-AB23-E3FD72FF703F}">
      <dsp:nvSpPr>
        <dsp:cNvPr id="0" name=""/>
        <dsp:cNvSpPr/>
      </dsp:nvSpPr>
      <dsp:spPr>
        <a:xfrm>
          <a:off x="1976143" y="892092"/>
          <a:ext cx="1726062" cy="1698821"/>
        </a:xfrm>
        <a:prstGeom prst="ellipse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1200" kern="1200" smtClean="0">
              <a:latin typeface="+mj-lt"/>
            </a:rPr>
            <a:t>Communication</a:t>
          </a:r>
          <a:endParaRPr lang="en-US" sz="1200" kern="1200">
            <a:latin typeface="+mj-lt"/>
          </a:endParaRPr>
        </a:p>
      </dsp:txBody>
      <dsp:txXfrm>
        <a:off x="2228919" y="1140879"/>
        <a:ext cx="1220510" cy="120124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arrow2">
  <dgm:title val=""/>
  <dgm:desc val=""/>
  <dgm:catLst>
    <dgm:cat type="process" pri="2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arrowDiagram">
    <dgm:varLst>
      <dgm:chMax val="5"/>
      <dgm:dir/>
      <dgm:resizeHandles val="exact"/>
    </dgm:varLst>
    <dgm:alg type="composite">
      <dgm:param type="ar" val="1.6"/>
    </dgm:alg>
    <dgm:shape xmlns:r="http://schemas.openxmlformats.org/officeDocument/2006/relationships" r:blip="">
      <dgm:adjLst/>
    </dgm:shape>
    <dgm:presOf/>
    <dgm:constrLst>
      <dgm:constr type="l" for="ch" forName="arrow"/>
      <dgm:constr type="t" for="ch" forName="arrow"/>
      <dgm:constr type="w" for="ch" forName="arrow" refType="w"/>
      <dgm:constr type="h" for="ch" forName="arrow" refType="h"/>
      <dgm:constr type="ctrX" for="ch" forName="arrowDiagram1" refType="w" fact="0.5"/>
      <dgm:constr type="ctrY" for="ch" forName="arrowDiagram1" refType="h" fact="0.5"/>
      <dgm:constr type="w" for="ch" forName="arrowDiagram1" refType="w"/>
      <dgm:constr type="h" for="ch" forName="arrowDiagram1" refType="h"/>
      <dgm:constr type="ctrX" for="ch" forName="arrowDiagram2" refType="w" fact="0.5"/>
      <dgm:constr type="ctrY" for="ch" forName="arrowDiagram2" refType="h" fact="0.5"/>
      <dgm:constr type="w" for="ch" forName="arrowDiagram2" refType="w"/>
      <dgm:constr type="h" for="ch" forName="arrowDiagram2" refType="h"/>
      <dgm:constr type="ctrX" for="ch" forName="arrowDiagram3" refType="w" fact="0.5"/>
      <dgm:constr type="ctrY" for="ch" forName="arrowDiagram3" refType="h" fact="0.5"/>
      <dgm:constr type="w" for="ch" forName="arrowDiagram3" refType="w"/>
      <dgm:constr type="h" for="ch" forName="arrowDiagram3" refType="h"/>
      <dgm:constr type="ctrX" for="ch" forName="arrowDiagram4" refType="w" fact="0.5"/>
      <dgm:constr type="ctrY" for="ch" forName="arrowDiagram4" refType="h" fact="0.5"/>
      <dgm:constr type="w" for="ch" forName="arrowDiagram4" refType="w"/>
      <dgm:constr type="h" for="ch" forName="arrowDiagram4" refType="h"/>
      <dgm:constr type="ctrX" for="ch" forName="arrowDiagram5" refType="w" fact="0.5"/>
      <dgm:constr type="ctrY" for="ch" forName="arrowDiagram5" refType="h" fact="0.5"/>
      <dgm:constr type="w" for="ch" forName="arrowDiagram5" refType="w"/>
      <dgm:constr type="h" for="ch" forName="arrowDiagram5" refType="h"/>
    </dgm:constrLst>
    <dgm:ruleLst/>
    <dgm:choose name="Name0">
      <dgm:if name="Name1" axis="ch" ptType="node" func="cnt" op="gte" val="1">
        <dgm:layoutNode name="arrow" styleLbl="bgShp">
          <dgm:alg type="sp"/>
          <dgm:shape xmlns:r="http://schemas.openxmlformats.org/officeDocument/2006/relationships" type="swooshArrow" r:blip="">
            <dgm:adjLst>
              <dgm:adj idx="2" val="0.25"/>
            </dgm:adjLst>
          </dgm:shape>
          <dgm:presOf/>
          <dgm:constrLst/>
          <dgm:ruleLst/>
        </dgm:layoutNode>
        <dgm:choose name="Name2">
          <dgm:if name="Name3" axis="ch" ptType="node" func="cnt" op="lt" val="1"/>
          <dgm:if name="Name4" axis="ch" ptType="node" func="cnt" op="equ" val="1">
            <dgm:layoutNode name="arrowDiagram1">
              <dgm:varLst>
                <dgm:bulletEnabled val="1"/>
              </dgm:varLst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ctrX" for="ch" forName="bullet1" refType="w" fact="0.8"/>
                <dgm:constr type="ctrY" for="ch" forName="bullet1" refType="h" fact="0.262"/>
                <dgm:constr type="w" for="ch" forName="bullet1" refType="w" fact="0.074"/>
                <dgm:constr type="h" for="ch" forName="bullet1" refType="w" refFor="ch" refForName="bullet1"/>
                <dgm:constr type="r" for="ch" forName="textBox1" refType="ctrX" refFor="ch" refForName="bullet1"/>
                <dgm:constr type="t" for="ch" forName="textBox1" refType="ctrY" refFor="ch" refForName="bullet1"/>
                <dgm:constr type="w" for="ch" forName="textBox1" refType="w" fact="0.4"/>
                <dgm:constr type="h" for="ch" forName="textBox1" refType="h" fact="0.738"/>
                <dgm:constr type="userA" refType="h" refFor="ch" refForName="bullet1" fact="0.53"/>
                <dgm:constr type="rMarg" for="ch" forName="textBox1" refType="userA" fact="2.834"/>
                <dgm:constr type="primFontSz" for="ch" ptType="node" op="equ" val="65"/>
              </dgm:constrLst>
              <dgm:ruleLst/>
              <dgm:forEach name="Name5" axis="ch" ptType="node" cnt="1">
                <dgm:layoutNode name="bullet1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1" styleLbl="revTx">
                  <dgm:varLst>
                    <dgm:bulletEnabled val="1"/>
                  </dgm:varLst>
                  <dgm:alg type="tx">
                    <dgm:param type="txAnchorVert" val="t"/>
                    <dgm:param type="parTxLTRAlign" val="r"/>
                    <dgm:param type="parTxRTLAlign" val="r"/>
                  </dgm:alg>
                  <dgm:shape xmlns:r="http://schemas.openxmlformats.org/officeDocument/2006/relationships" type="round2DiagRect" r:blip="">
                    <dgm:adjLst/>
                  </dgm:shape>
                  <dgm:presOf axis="desOrSelf" ptType="node"/>
                  <dgm:constrLst>
                    <dgm:constr type="lMarg"/>
                    <dgm:constr type="tMarg"/>
                    <dgm:constr type="bMarg"/>
                  </dgm:constrLst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6" axis="ch" ptType="node" func="cnt" op="equ" val="2">
            <dgm:layoutNode name="arrowDiagram2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7">
                <dgm:if name="Name8" func="var" arg="dir" op="equ" val="norm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l" for="ch" forName="textBox2a" refType="ctrX" refFor="ch" refForName="bullet2a"/>
                    <dgm:constr type="t" for="ch" forName="textBox2a" refType="ctrY" refFor="ch" refForName="bullet2a"/>
                    <dgm:constr type="w" for="ch" forName="textBox2a" refType="w" fact="0.325"/>
                    <dgm:constr type="h" for="ch" forName="textBox2a" refType="h" fact="0.427"/>
                    <dgm:constr type="userA" refType="h" refFor="ch" refForName="bullet2a" fact="0.53"/>
                    <dgm:constr type="l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l" for="ch" forName="textBox2b" refType="ctrX" refFor="ch" refForName="bullet2b"/>
                    <dgm:constr type="t" for="ch" forName="textBox2b" refType="ctrY" refFor="ch" refForName="bullet2b"/>
                    <dgm:constr type="w" for="ch" forName="textBox2b" refType="w" fact="0.325"/>
                    <dgm:constr type="h" for="ch" forName="textBox2b" refType="h" fact="0.662"/>
                    <dgm:constr type="userB" refType="h" refFor="ch" refForName="bullet2b" fact="0.53"/>
                    <dgm:constr type="lMarg" for="ch" forName="textBox2b" refType="userB" fact="2.834"/>
                    <dgm:constr type="primFontSz" for="ch" ptType="node" op="equ" val="65"/>
                  </dgm:constrLst>
                </dgm:if>
                <dgm:else name="Name9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r" for="ch" forName="textBox2a" refType="ctrX" refFor="ch" refForName="bullet2a"/>
                    <dgm:constr type="b" for="ch" forName="textBox2a" refType="ctrY" refFor="ch" refForName="bullet2a"/>
                    <dgm:constr type="w" for="ch" forName="textBox2a" refType="w" fact="0.25"/>
                    <dgm:constr type="h" for="ch" forName="textBox2a" refType="h" fact="0.573"/>
                    <dgm:constr type="userA" refType="h" refFor="ch" refForName="bullet2a" fact="0.53"/>
                    <dgm:constr type="r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r" for="ch" forName="textBox2b" refType="ctrX" refFor="ch" refForName="bullet2b"/>
                    <dgm:constr type="b" for="ch" forName="textBox2b" refType="ctrY" refFor="ch" refForName="bullet2b"/>
                    <dgm:constr type="w" for="ch" forName="textBox2b" refType="w" fact="0.28"/>
                    <dgm:constr type="h" for="ch" forName="textBox2b" refType="h" fact="0.338"/>
                    <dgm:constr type="userB" refType="h" refFor="ch" refForName="bullet2b" fact="0.53"/>
                    <dgm:constr type="rMarg" for="ch" forName="textBox2b" refType="userB" fact="2.834"/>
                    <dgm:constr type="primFontSz" for="ch" ptType="node" op="equ" val="65"/>
                  </dgm:constrLst>
                </dgm:else>
              </dgm:choose>
              <dgm:ruleLst/>
              <dgm:forEach name="Name10" axis="ch" ptType="node" cnt="1">
                <dgm:layoutNode name="bullet2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a" styleLbl="revTx">
                  <dgm:varLst>
                    <dgm:bulletEnabled val="1"/>
                  </dgm:varLst>
                  <dgm:choose name="Name11">
                    <dgm:if name="Name12" func="var" arg="dir" op="equ" val="norm">
                      <dgm:choose name="Name13">
                        <dgm:if name="Name1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6">
                      <dgm:choose name="Name17">
                        <dgm:if name="Name1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">
                    <dgm:if name="Name2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23" axis="ch" ptType="node" st="2" cnt="1">
                <dgm:layoutNode name="bullet2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b" styleLbl="revTx">
                  <dgm:varLst>
                    <dgm:bulletEnabled val="1"/>
                  </dgm:varLst>
                  <dgm:choose name="Name24">
                    <dgm:if name="Name25" func="var" arg="dir" op="equ" val="norm">
                      <dgm:choose name="Name26">
                        <dgm:if name="Name2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2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29">
                      <dgm:choose name="Name30">
                        <dgm:if name="Name3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3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33">
                    <dgm:if name="Name3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3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36" axis="ch" ptType="node" func="cnt" op="equ" val="3">
            <dgm:layoutNode name="arrowDiagram3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37">
                <dgm:if name="Name38" func="var" arg="dir" op="equ" val="norm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l" for="ch" forName="textBox3a" refType="ctrX" refFor="ch" refForName="bullet3a"/>
                    <dgm:constr type="t" for="ch" forName="textBox3a" refType="ctrY" refFor="ch" refForName="bullet3a"/>
                    <dgm:constr type="w" for="ch" forName="textBox3a" refType="w" fact="0.233"/>
                    <dgm:constr type="h" for="ch" forName="textBox3a" refType="h" fact="0.289"/>
                    <dgm:constr type="userA" refType="h" refFor="ch" refForName="bullet3a" fact="0.53"/>
                    <dgm:constr type="l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l" for="ch" forName="textBox3b" refType="ctrX" refFor="ch" refForName="bullet3b"/>
                    <dgm:constr type="t" for="ch" forName="textBox3b" refType="ctrY" refFor="ch" refForName="bullet3b"/>
                    <dgm:constr type="w" for="ch" forName="textBox3b" refType="w" fact="0.24"/>
                    <dgm:constr type="h" for="ch" forName="textBox3b" refType="h" fact="0.544"/>
                    <dgm:constr type="userB" refType="h" refFor="ch" refForName="bullet3b" fact="0.53"/>
                    <dgm:constr type="l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l" for="ch" forName="textBox3c" refType="ctrX" refFor="ch" refForName="bullet3c"/>
                    <dgm:constr type="t" for="ch" forName="textBox3c" refType="ctrY" refFor="ch" refForName="bullet3c"/>
                    <dgm:constr type="w" for="ch" forName="textBox3c" refType="w" fact="0.24"/>
                    <dgm:constr type="h" for="ch" forName="textBox3c" refType="h" fact="0.695"/>
                    <dgm:constr type="userC" refType="h" refFor="ch" refForName="bullet3c" fact="0.53"/>
                    <dgm:constr type="lMarg" for="ch" forName="textBox3c" refType="userC" fact="2.834"/>
                    <dgm:constr type="primFontSz" for="ch" ptType="node" op="equ" val="65"/>
                  </dgm:constrLst>
                </dgm:if>
                <dgm:else name="Name39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r" for="ch" forName="textBox3a" refType="ctrX" refFor="ch" refForName="bullet3a"/>
                    <dgm:constr type="b" for="ch" forName="textBox3a" refType="ctrY" refFor="ch" refForName="bullet3a"/>
                    <dgm:constr type="w" for="ch" forName="textBox3a" refType="w" fact="0.14"/>
                    <dgm:constr type="h" for="ch" forName="textBox3a" refType="h" fact="0.711"/>
                    <dgm:constr type="userA" refType="h" refFor="ch" refForName="bullet3a" fact="0.53"/>
                    <dgm:constr type="r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r" for="ch" forName="textBox3b" refType="ctrX" refFor="ch" refForName="bullet3b"/>
                    <dgm:constr type="b" for="ch" forName="textBox3b" refType="ctrY" refFor="ch" refForName="bullet3b"/>
                    <dgm:constr type="w" for="ch" forName="textBox3b" refType="w" fact="0.24"/>
                    <dgm:constr type="h" for="ch" forName="textBox3b" refType="h" fact="0.456"/>
                    <dgm:constr type="userB" refType="h" refFor="ch" refForName="bullet3b" fact="0.53"/>
                    <dgm:constr type="r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r" for="ch" forName="textBox3c" refType="ctrX" refFor="ch" refForName="bullet3c"/>
                    <dgm:constr type="b" for="ch" forName="textBox3c" refType="ctrY" refFor="ch" refForName="bullet3c"/>
                    <dgm:constr type="w" for="ch" forName="textBox3c" refType="w" fact="0.24"/>
                    <dgm:constr type="h" for="ch" forName="textBox3c" refType="h" fact="0.305"/>
                    <dgm:constr type="userC" refType="h" refFor="ch" refForName="bullet3c" fact="0.53"/>
                    <dgm:constr type="rMarg" for="ch" forName="textBox3c" refType="userC" fact="2.834"/>
                    <dgm:constr type="primFontSz" for="ch" ptType="node" op="equ" val="65"/>
                  </dgm:constrLst>
                </dgm:else>
              </dgm:choose>
              <dgm:ruleLst/>
              <dgm:forEach name="Name40" axis="ch" ptType="node" cnt="1">
                <dgm:layoutNode name="bullet3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a" styleLbl="revTx">
                  <dgm:varLst>
                    <dgm:bulletEnabled val="1"/>
                  </dgm:varLst>
                  <dgm:choose name="Name41">
                    <dgm:if name="Name42" func="var" arg="dir" op="equ" val="norm">
                      <dgm:choose name="Name43">
                        <dgm:if name="Name4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4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46">
                      <dgm:choose name="Name47">
                        <dgm:if name="Name4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4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50">
                    <dgm:if name="Name5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5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53" axis="ch" ptType="node" st="2" cnt="1">
                <dgm:layoutNode name="bullet3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b" styleLbl="revTx">
                  <dgm:varLst>
                    <dgm:bulletEnabled val="1"/>
                  </dgm:varLst>
                  <dgm:choose name="Name54">
                    <dgm:if name="Name55" func="var" arg="dir" op="equ" val="norm">
                      <dgm:choose name="Name56">
                        <dgm:if name="Name5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5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59">
                      <dgm:choose name="Name60">
                        <dgm:if name="Name6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6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63">
                    <dgm:if name="Name6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6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66" axis="ch" ptType="node" st="3" cnt="1">
                <dgm:layoutNode name="bullet3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c" styleLbl="revTx">
                  <dgm:varLst>
                    <dgm:bulletEnabled val="1"/>
                  </dgm:varLst>
                  <dgm:choose name="Name67">
                    <dgm:if name="Name68" func="var" arg="dir" op="equ" val="norm">
                      <dgm:choose name="Name69">
                        <dgm:if name="Name7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7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72">
                      <dgm:choose name="Name73">
                        <dgm:if name="Name7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7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76">
                    <dgm:if name="Name7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7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79" axis="ch" ptType="node" func="cnt" op="equ" val="4">
            <dgm:layoutNode name="arrowDiagram4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80">
                <dgm:if name="Name81" func="var" arg="dir" op="equ" val="norm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l" for="ch" forName="textBox4a" refType="ctrX" refFor="ch" refForName="bullet4a"/>
                    <dgm:constr type="t" for="ch" forName="textBox4a" refType="ctrY" refFor="ch" refForName="bullet4a"/>
                    <dgm:constr type="w" for="ch" forName="textBox4a" refType="w" fact="0.171"/>
                    <dgm:constr type="h" for="ch" forName="textBox4a" refType="h" fact="0.238"/>
                    <dgm:constr type="userA" refType="h" refFor="ch" refForName="bullet4a" fact="0.53"/>
                    <dgm:constr type="l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l" for="ch" forName="textBox4b" refType="ctrX" refFor="ch" refForName="bullet4b"/>
                    <dgm:constr type="t" for="ch" forName="textBox4b" refType="ctrY" refFor="ch" refForName="bullet4b"/>
                    <dgm:constr type="w" for="ch" forName="textBox4b" refType="w" fact="0.21"/>
                    <dgm:constr type="h" for="ch" forName="textBox4b" refType="h" fact="0.457"/>
                    <dgm:constr type="userB" refType="h" refFor="ch" refForName="bullet4b" fact="0.53"/>
                    <dgm:constr type="l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l" for="ch" forName="textBox4c" refType="ctrX" refFor="ch" refForName="bullet4c"/>
                    <dgm:constr type="t" for="ch" forName="textBox4c" refType="ctrY" refFor="ch" refForName="bullet4c"/>
                    <dgm:constr type="w" for="ch" forName="textBox4c" refType="w" fact="0.21"/>
                    <dgm:constr type="h" for="ch" forName="textBox4c" refType="h" fact="0.618"/>
                    <dgm:constr type="userC" refType="h" refFor="ch" refForName="bullet4c" fact="0.53"/>
                    <dgm:constr type="l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l" for="ch" forName="textBox4d" refType="ctrX" refFor="ch" refForName="bullet4d"/>
                    <dgm:constr type="t" for="ch" forName="textBox4d" refType="ctrY" refFor="ch" refForName="bullet4d"/>
                    <dgm:constr type="w" for="ch" forName="textBox4d" refType="w" fact="0.21"/>
                    <dgm:constr type="h" for="ch" forName="textBox4d" refType="h" fact="0.717"/>
                    <dgm:constr type="userD" refType="h" refFor="ch" refForName="bullet4d" fact="0.53"/>
                    <dgm:constr type="lMarg" for="ch" forName="textBox4d" refType="userD" fact="2.834"/>
                    <dgm:constr type="primFontSz" for="ch" ptType="node" op="equ" val="65"/>
                  </dgm:constrLst>
                </dgm:if>
                <dgm:else name="Name82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r" for="ch" forName="textBox4a" refType="ctrX" refFor="ch" refForName="bullet4a"/>
                    <dgm:constr type="b" for="ch" forName="textBox4a" refType="ctrY" refFor="ch" refForName="bullet4a"/>
                    <dgm:constr type="w" for="ch" forName="textBox4a" refType="w" fact="0.11"/>
                    <dgm:constr type="h" for="ch" forName="textBox4a" refType="h" fact="0.762"/>
                    <dgm:constr type="userA" refType="h" refFor="ch" refForName="bullet4a" fact="0.53"/>
                    <dgm:constr type="r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r" for="ch" forName="textBox4b" refType="ctrX" refFor="ch" refForName="bullet4b"/>
                    <dgm:constr type="b" for="ch" forName="textBox4b" refType="ctrY" refFor="ch" refForName="bullet4b"/>
                    <dgm:constr type="w" for="ch" forName="textBox4b" refType="w" fact="0.171"/>
                    <dgm:constr type="h" for="ch" forName="textBox4b" refType="h" fact="0.543"/>
                    <dgm:constr type="userB" refType="h" refFor="ch" refForName="bullet4b" fact="0.53"/>
                    <dgm:constr type="r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r" for="ch" forName="textBox4c" refType="ctrX" refFor="ch" refForName="bullet4c"/>
                    <dgm:constr type="b" for="ch" forName="textBox4c" refType="ctrY" refFor="ch" refForName="bullet4c"/>
                    <dgm:constr type="w" for="ch" forName="textBox4c" refType="w" fact="0.21"/>
                    <dgm:constr type="h" for="ch" forName="textBox4c" refType="h" fact="0.382"/>
                    <dgm:constr type="userC" refType="h" refFor="ch" refForName="bullet4c" fact="0.53"/>
                    <dgm:constr type="r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r" for="ch" forName="textBox4d" refType="ctrX" refFor="ch" refForName="bullet4d"/>
                    <dgm:constr type="b" for="ch" forName="textBox4d" refType="ctrY" refFor="ch" refForName="bullet4d"/>
                    <dgm:constr type="w" for="ch" forName="textBox4d" refType="w" fact="0.21"/>
                    <dgm:constr type="h" for="ch" forName="textBox4d" refType="h" fact="0.283"/>
                    <dgm:constr type="userD" refType="h" refFor="ch" refForName="bullet4d" fact="0.53"/>
                    <dgm:constr type="rMarg" for="ch" forName="textBox4d" refType="userD" fact="2.834"/>
                    <dgm:constr type="primFontSz" for="ch" ptType="node" op="equ" val="65"/>
                  </dgm:constrLst>
                </dgm:else>
              </dgm:choose>
              <dgm:ruleLst/>
              <dgm:forEach name="Name83" axis="ch" ptType="node" cnt="1">
                <dgm:layoutNode name="bullet4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a" styleLbl="revTx">
                  <dgm:varLst>
                    <dgm:bulletEnabled val="1"/>
                  </dgm:varLst>
                  <dgm:choose name="Name84">
                    <dgm:if name="Name85" func="var" arg="dir" op="equ" val="norm">
                      <dgm:choose name="Name86">
                        <dgm:if name="Name8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8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89">
                      <dgm:choose name="Name90">
                        <dgm:if name="Name9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9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93">
                    <dgm:if name="Name9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9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96" axis="ch" ptType="node" st="2" cnt="1">
                <dgm:layoutNode name="bullet4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b" styleLbl="revTx">
                  <dgm:varLst>
                    <dgm:bulletEnabled val="1"/>
                  </dgm:varLst>
                  <dgm:choose name="Name97">
                    <dgm:if name="Name98" func="var" arg="dir" op="equ" val="norm">
                      <dgm:choose name="Name99">
                        <dgm:if name="Name10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0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0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06">
                    <dgm:if name="Name10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0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09" axis="ch" ptType="node" st="3" cnt="1">
                <dgm:layoutNode name="bullet4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c" styleLbl="revTx">
                  <dgm:varLst>
                    <dgm:bulletEnabled val="1"/>
                  </dgm:varLst>
                  <dgm:choose name="Name110">
                    <dgm:if name="Name111" func="var" arg="dir" op="equ" val="norm">
                      <dgm:choose name="Name112">
                        <dgm:if name="Name11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1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15">
                      <dgm:choose name="Name116">
                        <dgm:if name="Name11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1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19">
                    <dgm:if name="Name12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2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22" axis="ch" ptType="node" st="4" cnt="1">
                <dgm:layoutNode name="bullet4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d" styleLbl="revTx">
                  <dgm:varLst>
                    <dgm:bulletEnabled val="1"/>
                  </dgm:varLst>
                  <dgm:choose name="Name123">
                    <dgm:if name="Name124" func="var" arg="dir" op="equ" val="norm">
                      <dgm:choose name="Name125">
                        <dgm:if name="Name12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2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28">
                      <dgm:choose name="Name129">
                        <dgm:if name="Name13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3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32">
                    <dgm:if name="Name13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3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else name="Name135">
            <dgm:layoutNode name="arrowDiagram5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136">
                <dgm:if name="Name137" func="var" arg="dir" op="equ" val="norm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l" for="ch" forName="textBox5a" refType="ctrX" refFor="ch" refForName="bullet5a"/>
                    <dgm:constr type="t" for="ch" forName="textBox5a" refType="ctrY" refFor="ch" refForName="bullet5a"/>
                    <dgm:constr type="w" for="ch" forName="textBox5a" refType="w" fact="0.131"/>
                    <dgm:constr type="h" for="ch" forName="textBox5a" refType="h" fact="0.238"/>
                    <dgm:constr type="userA" refType="h" refFor="ch" refForName="bullet5a" fact="0.53"/>
                    <dgm:constr type="l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l" for="ch" forName="textBox5b" refType="ctrX" refFor="ch" refForName="bullet5b"/>
                    <dgm:constr type="t" for="ch" forName="textBox5b" refType="ctrY" refFor="ch" refForName="bullet5b"/>
                    <dgm:constr type="w" for="ch" forName="textBox5b" refType="w" fact="0.166"/>
                    <dgm:constr type="h" for="ch" forName="textBox5b" refType="h" fact="0.419"/>
                    <dgm:constr type="userB" refType="h" refFor="ch" refForName="bullet5b" fact="0.53"/>
                    <dgm:constr type="l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l" for="ch" forName="textBox5c" refType="ctrX" refFor="ch" refForName="bullet5c"/>
                    <dgm:constr type="t" for="ch" forName="textBox5c" refType="ctrY" refFor="ch" refForName="bullet5c"/>
                    <dgm:constr type="w" for="ch" forName="textBox5c" refType="w" fact="0.193"/>
                    <dgm:constr type="h" for="ch" forName="textBox5c" refType="h" fact="0.562"/>
                    <dgm:constr type="userC" refType="h" refFor="ch" refForName="bullet5c" fact="0.53"/>
                    <dgm:constr type="l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l" for="ch" forName="textBox5d" refType="ctrX" refFor="ch" refForName="bullet5d"/>
                    <dgm:constr type="t" for="ch" forName="textBox5d" refType="ctrY" refFor="ch" refForName="bullet5d"/>
                    <dgm:constr type="w" for="ch" forName="textBox5d" refType="w" fact="0.2"/>
                    <dgm:constr type="h" for="ch" forName="textBox5d" refType="h" fact="0.67"/>
                    <dgm:constr type="userD" refType="h" refFor="ch" refForName="bullet5d" fact="0.53"/>
                    <dgm:constr type="l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l" for="ch" forName="textBox5e" refType="ctrX" refFor="ch" refForName="bullet5e"/>
                    <dgm:constr type="t" for="ch" forName="textBox5e" refType="ctrY" refFor="ch" refForName="bullet5e"/>
                    <dgm:constr type="w" for="ch" forName="textBox5e" refType="w" fact="0.2"/>
                    <dgm:constr type="h" for="ch" forName="textBox5e" refType="h" fact="0.736"/>
                    <dgm:constr type="userE" refType="h" refFor="ch" refForName="bullet5e" fact="0.53"/>
                    <dgm:constr type="lMarg" for="ch" forName="textBox5e" refType="userE" fact="2.834"/>
                    <dgm:constr type="primFontSz" for="ch" ptType="node" op="equ" val="65"/>
                  </dgm:constrLst>
                </dgm:if>
                <dgm:else name="Name138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r" for="ch" forName="textBox5a" refType="ctrX" refFor="ch" refForName="bullet5a"/>
                    <dgm:constr type="b" for="ch" forName="textBox5a" refType="ctrY" refFor="ch" refForName="bullet5a"/>
                    <dgm:constr type="w" for="ch" forName="textBox5a" refType="w" fact="0.11"/>
                    <dgm:constr type="h" for="ch" forName="textBox5a" refType="h" fact="0.762"/>
                    <dgm:constr type="userA" refType="h" refFor="ch" refForName="bullet5a" fact="0.53"/>
                    <dgm:constr type="r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r" for="ch" forName="textBox5b" refType="ctrX" refFor="ch" refForName="bullet5b"/>
                    <dgm:constr type="b" for="ch" forName="textBox5b" refType="ctrY" refFor="ch" refForName="bullet5b"/>
                    <dgm:constr type="w" for="ch" forName="textBox5b" refType="w" fact="0.131"/>
                    <dgm:constr type="h" for="ch" forName="textBox5b" refType="h" fact="0.581"/>
                    <dgm:constr type="userB" refType="h" refFor="ch" refForName="bullet5b" fact="0.53"/>
                    <dgm:constr type="r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r" for="ch" forName="textBox5c" refType="ctrX" refFor="ch" refForName="bullet5c"/>
                    <dgm:constr type="b" for="ch" forName="textBox5c" refType="ctrY" refFor="ch" refForName="bullet5c"/>
                    <dgm:constr type="w" for="ch" forName="textBox5c" refType="w" fact="0.166"/>
                    <dgm:constr type="h" for="ch" forName="textBox5c" refType="h" fact="0.438"/>
                    <dgm:constr type="userC" refType="h" refFor="ch" refForName="bullet5c" fact="0.53"/>
                    <dgm:constr type="r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r" for="ch" forName="textBox5d" refType="ctrX" refFor="ch" refForName="bullet5d"/>
                    <dgm:constr type="b" for="ch" forName="textBox5d" refType="ctrY" refFor="ch" refForName="bullet5d"/>
                    <dgm:constr type="w" for="ch" forName="textBox5d" refType="w" fact="0.193"/>
                    <dgm:constr type="h" for="ch" forName="textBox5d" refType="h" fact="0.33"/>
                    <dgm:constr type="userD" refType="h" refFor="ch" refForName="bullet5d" fact="0.53"/>
                    <dgm:constr type="r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r" for="ch" forName="textBox5e" refType="ctrX" refFor="ch" refForName="bullet5e"/>
                    <dgm:constr type="b" for="ch" forName="textBox5e" refType="ctrY" refFor="ch" refForName="bullet5e"/>
                    <dgm:constr type="w" for="ch" forName="textBox5e" refType="w" fact="0.2"/>
                    <dgm:constr type="h" for="ch" forName="textBox5e" refType="h" fact="0.264"/>
                    <dgm:constr type="userE" refType="h" refFor="ch" refForName="bullet5e" fact="0.53"/>
                    <dgm:constr type="rMarg" for="ch" forName="textBox5e" refType="userE" fact="2.834"/>
                    <dgm:constr type="primFontSz" for="ch" ptType="node" op="equ" val="65"/>
                  </dgm:constrLst>
                </dgm:else>
              </dgm:choose>
              <dgm:ruleLst/>
              <dgm:forEach name="Name139" axis="ch" ptType="node" cnt="1">
                <dgm:layoutNode name="bullet5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a" styleLbl="revTx">
                  <dgm:varLst>
                    <dgm:bulletEnabled val="1"/>
                  </dgm:varLst>
                  <dgm:choose name="Name140">
                    <dgm:if name="Name141" func="var" arg="dir" op="equ" val="norm">
                      <dgm:choose name="Name142">
                        <dgm:if name="Name14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4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45">
                      <dgm:choose name="Name146">
                        <dgm:if name="Name14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4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49">
                    <dgm:if name="Name15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5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52" axis="ch" ptType="node" st="2" cnt="1">
                <dgm:layoutNode name="bullet5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b" styleLbl="revTx">
                  <dgm:varLst>
                    <dgm:bulletEnabled val="1"/>
                  </dgm:varLst>
                  <dgm:choose name="Name153">
                    <dgm:if name="Name154" func="var" arg="dir" op="equ" val="norm">
                      <dgm:choose name="Name155">
                        <dgm:if name="Name15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58">
                      <dgm:choose name="Name159">
                        <dgm:if name="Name16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6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62">
                    <dgm:if name="Name16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6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65" axis="ch" ptType="node" st="3" cnt="1">
                <dgm:layoutNode name="bullet5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c" styleLbl="revTx">
                  <dgm:varLst>
                    <dgm:bulletEnabled val="1"/>
                  </dgm:varLst>
                  <dgm:choose name="Name166">
                    <dgm:if name="Name167" func="var" arg="dir" op="equ" val="norm">
                      <dgm:choose name="Name168">
                        <dgm:if name="Name169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70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71">
                      <dgm:choose name="Name172">
                        <dgm:if name="Name173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74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75">
                    <dgm:if name="Name176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77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78" axis="ch" ptType="node" st="4" cnt="1">
                <dgm:layoutNode name="bullet5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d" styleLbl="revTx">
                  <dgm:varLst>
                    <dgm:bulletEnabled val="1"/>
                  </dgm:varLst>
                  <dgm:choose name="Name179">
                    <dgm:if name="Name180" func="var" arg="dir" op="equ" val="norm">
                      <dgm:choose name="Name181">
                        <dgm:if name="Name182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83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84">
                      <dgm:choose name="Name185">
                        <dgm:if name="Name186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87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88">
                    <dgm:if name="Name189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90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91" axis="ch" ptType="node" st="5" cnt="1">
                <dgm:layoutNode name="bullet5e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e" styleLbl="revTx">
                  <dgm:varLst>
                    <dgm:bulletEnabled val="1"/>
                  </dgm:varLst>
                  <dgm:choose name="Name192">
                    <dgm:if name="Name193" func="var" arg="dir" op="equ" val="norm">
                      <dgm:choose name="Name194">
                        <dgm:if name="Name195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96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97">
                      <dgm:choose name="Name198">
                        <dgm:if name="Name199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200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1">
                    <dgm:if name="Name202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03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else>
        </dgm:choose>
      </dgm:if>
      <dgm:else name="Name204"/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arrow2">
  <dgm:title val=""/>
  <dgm:desc val=""/>
  <dgm:catLst>
    <dgm:cat type="process" pri="2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arrowDiagram">
    <dgm:varLst>
      <dgm:chMax val="5"/>
      <dgm:dir/>
      <dgm:resizeHandles val="exact"/>
    </dgm:varLst>
    <dgm:alg type="composite">
      <dgm:param type="ar" val="1.6"/>
    </dgm:alg>
    <dgm:shape xmlns:r="http://schemas.openxmlformats.org/officeDocument/2006/relationships" r:blip="">
      <dgm:adjLst/>
    </dgm:shape>
    <dgm:presOf/>
    <dgm:constrLst>
      <dgm:constr type="l" for="ch" forName="arrow"/>
      <dgm:constr type="t" for="ch" forName="arrow"/>
      <dgm:constr type="w" for="ch" forName="arrow" refType="w"/>
      <dgm:constr type="h" for="ch" forName="arrow" refType="h"/>
      <dgm:constr type="ctrX" for="ch" forName="arrowDiagram1" refType="w" fact="0.5"/>
      <dgm:constr type="ctrY" for="ch" forName="arrowDiagram1" refType="h" fact="0.5"/>
      <dgm:constr type="w" for="ch" forName="arrowDiagram1" refType="w"/>
      <dgm:constr type="h" for="ch" forName="arrowDiagram1" refType="h"/>
      <dgm:constr type="ctrX" for="ch" forName="arrowDiagram2" refType="w" fact="0.5"/>
      <dgm:constr type="ctrY" for="ch" forName="arrowDiagram2" refType="h" fact="0.5"/>
      <dgm:constr type="w" for="ch" forName="arrowDiagram2" refType="w"/>
      <dgm:constr type="h" for="ch" forName="arrowDiagram2" refType="h"/>
      <dgm:constr type="ctrX" for="ch" forName="arrowDiagram3" refType="w" fact="0.5"/>
      <dgm:constr type="ctrY" for="ch" forName="arrowDiagram3" refType="h" fact="0.5"/>
      <dgm:constr type="w" for="ch" forName="arrowDiagram3" refType="w"/>
      <dgm:constr type="h" for="ch" forName="arrowDiagram3" refType="h"/>
      <dgm:constr type="ctrX" for="ch" forName="arrowDiagram4" refType="w" fact="0.5"/>
      <dgm:constr type="ctrY" for="ch" forName="arrowDiagram4" refType="h" fact="0.5"/>
      <dgm:constr type="w" for="ch" forName="arrowDiagram4" refType="w"/>
      <dgm:constr type="h" for="ch" forName="arrowDiagram4" refType="h"/>
      <dgm:constr type="ctrX" for="ch" forName="arrowDiagram5" refType="w" fact="0.5"/>
      <dgm:constr type="ctrY" for="ch" forName="arrowDiagram5" refType="h" fact="0.5"/>
      <dgm:constr type="w" for="ch" forName="arrowDiagram5" refType="w"/>
      <dgm:constr type="h" for="ch" forName="arrowDiagram5" refType="h"/>
    </dgm:constrLst>
    <dgm:ruleLst/>
    <dgm:choose name="Name0">
      <dgm:if name="Name1" axis="ch" ptType="node" func="cnt" op="gte" val="1">
        <dgm:layoutNode name="arrow" styleLbl="bgShp">
          <dgm:alg type="sp"/>
          <dgm:shape xmlns:r="http://schemas.openxmlformats.org/officeDocument/2006/relationships" type="swooshArrow" r:blip="">
            <dgm:adjLst>
              <dgm:adj idx="2" val="0.25"/>
            </dgm:adjLst>
          </dgm:shape>
          <dgm:presOf/>
          <dgm:constrLst/>
          <dgm:ruleLst/>
        </dgm:layoutNode>
        <dgm:choose name="Name2">
          <dgm:if name="Name3" axis="ch" ptType="node" func="cnt" op="lt" val="1"/>
          <dgm:if name="Name4" axis="ch" ptType="node" func="cnt" op="equ" val="1">
            <dgm:layoutNode name="arrowDiagram1">
              <dgm:varLst>
                <dgm:bulletEnabled val="1"/>
              </dgm:varLst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ctrX" for="ch" forName="bullet1" refType="w" fact="0.8"/>
                <dgm:constr type="ctrY" for="ch" forName="bullet1" refType="h" fact="0.262"/>
                <dgm:constr type="w" for="ch" forName="bullet1" refType="w" fact="0.074"/>
                <dgm:constr type="h" for="ch" forName="bullet1" refType="w" refFor="ch" refForName="bullet1"/>
                <dgm:constr type="r" for="ch" forName="textBox1" refType="ctrX" refFor="ch" refForName="bullet1"/>
                <dgm:constr type="t" for="ch" forName="textBox1" refType="ctrY" refFor="ch" refForName="bullet1"/>
                <dgm:constr type="w" for="ch" forName="textBox1" refType="w" fact="0.4"/>
                <dgm:constr type="h" for="ch" forName="textBox1" refType="h" fact="0.738"/>
                <dgm:constr type="userA" refType="h" refFor="ch" refForName="bullet1" fact="0.53"/>
                <dgm:constr type="rMarg" for="ch" forName="textBox1" refType="userA" fact="2.834"/>
                <dgm:constr type="primFontSz" for="ch" ptType="node" op="equ" val="65"/>
              </dgm:constrLst>
              <dgm:ruleLst/>
              <dgm:forEach name="Name5" axis="ch" ptType="node" cnt="1">
                <dgm:layoutNode name="bullet1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1" styleLbl="revTx">
                  <dgm:varLst>
                    <dgm:bulletEnabled val="1"/>
                  </dgm:varLst>
                  <dgm:alg type="tx">
                    <dgm:param type="txAnchorVert" val="t"/>
                    <dgm:param type="parTxLTRAlign" val="r"/>
                    <dgm:param type="parTxRTLAlign" val="r"/>
                  </dgm:alg>
                  <dgm:shape xmlns:r="http://schemas.openxmlformats.org/officeDocument/2006/relationships" type="round2DiagRect" r:blip="">
                    <dgm:adjLst/>
                  </dgm:shape>
                  <dgm:presOf axis="desOrSelf" ptType="node"/>
                  <dgm:constrLst>
                    <dgm:constr type="lMarg"/>
                    <dgm:constr type="tMarg"/>
                    <dgm:constr type="bMarg"/>
                  </dgm:constrLst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6" axis="ch" ptType="node" func="cnt" op="equ" val="2">
            <dgm:layoutNode name="arrowDiagram2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7">
                <dgm:if name="Name8" func="var" arg="dir" op="equ" val="norm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l" for="ch" forName="textBox2a" refType="ctrX" refFor="ch" refForName="bullet2a"/>
                    <dgm:constr type="t" for="ch" forName="textBox2a" refType="ctrY" refFor="ch" refForName="bullet2a"/>
                    <dgm:constr type="w" for="ch" forName="textBox2a" refType="w" fact="0.325"/>
                    <dgm:constr type="h" for="ch" forName="textBox2a" refType="h" fact="0.427"/>
                    <dgm:constr type="userA" refType="h" refFor="ch" refForName="bullet2a" fact="0.53"/>
                    <dgm:constr type="l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l" for="ch" forName="textBox2b" refType="ctrX" refFor="ch" refForName="bullet2b"/>
                    <dgm:constr type="t" for="ch" forName="textBox2b" refType="ctrY" refFor="ch" refForName="bullet2b"/>
                    <dgm:constr type="w" for="ch" forName="textBox2b" refType="w" fact="0.325"/>
                    <dgm:constr type="h" for="ch" forName="textBox2b" refType="h" fact="0.662"/>
                    <dgm:constr type="userB" refType="h" refFor="ch" refForName="bullet2b" fact="0.53"/>
                    <dgm:constr type="lMarg" for="ch" forName="textBox2b" refType="userB" fact="2.834"/>
                    <dgm:constr type="primFontSz" for="ch" ptType="node" op="equ" val="65"/>
                  </dgm:constrLst>
                </dgm:if>
                <dgm:else name="Name9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r" for="ch" forName="textBox2a" refType="ctrX" refFor="ch" refForName="bullet2a"/>
                    <dgm:constr type="b" for="ch" forName="textBox2a" refType="ctrY" refFor="ch" refForName="bullet2a"/>
                    <dgm:constr type="w" for="ch" forName="textBox2a" refType="w" fact="0.25"/>
                    <dgm:constr type="h" for="ch" forName="textBox2a" refType="h" fact="0.573"/>
                    <dgm:constr type="userA" refType="h" refFor="ch" refForName="bullet2a" fact="0.53"/>
                    <dgm:constr type="r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r" for="ch" forName="textBox2b" refType="ctrX" refFor="ch" refForName="bullet2b"/>
                    <dgm:constr type="b" for="ch" forName="textBox2b" refType="ctrY" refFor="ch" refForName="bullet2b"/>
                    <dgm:constr type="w" for="ch" forName="textBox2b" refType="w" fact="0.28"/>
                    <dgm:constr type="h" for="ch" forName="textBox2b" refType="h" fact="0.338"/>
                    <dgm:constr type="userB" refType="h" refFor="ch" refForName="bullet2b" fact="0.53"/>
                    <dgm:constr type="rMarg" for="ch" forName="textBox2b" refType="userB" fact="2.834"/>
                    <dgm:constr type="primFontSz" for="ch" ptType="node" op="equ" val="65"/>
                  </dgm:constrLst>
                </dgm:else>
              </dgm:choose>
              <dgm:ruleLst/>
              <dgm:forEach name="Name10" axis="ch" ptType="node" cnt="1">
                <dgm:layoutNode name="bullet2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a" styleLbl="revTx">
                  <dgm:varLst>
                    <dgm:bulletEnabled val="1"/>
                  </dgm:varLst>
                  <dgm:choose name="Name11">
                    <dgm:if name="Name12" func="var" arg="dir" op="equ" val="norm">
                      <dgm:choose name="Name13">
                        <dgm:if name="Name1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6">
                      <dgm:choose name="Name17">
                        <dgm:if name="Name1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">
                    <dgm:if name="Name2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23" axis="ch" ptType="node" st="2" cnt="1">
                <dgm:layoutNode name="bullet2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b" styleLbl="revTx">
                  <dgm:varLst>
                    <dgm:bulletEnabled val="1"/>
                  </dgm:varLst>
                  <dgm:choose name="Name24">
                    <dgm:if name="Name25" func="var" arg="dir" op="equ" val="norm">
                      <dgm:choose name="Name26">
                        <dgm:if name="Name2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2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29">
                      <dgm:choose name="Name30">
                        <dgm:if name="Name3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3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33">
                    <dgm:if name="Name3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3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36" axis="ch" ptType="node" func="cnt" op="equ" val="3">
            <dgm:layoutNode name="arrowDiagram3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37">
                <dgm:if name="Name38" func="var" arg="dir" op="equ" val="norm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l" for="ch" forName="textBox3a" refType="ctrX" refFor="ch" refForName="bullet3a"/>
                    <dgm:constr type="t" for="ch" forName="textBox3a" refType="ctrY" refFor="ch" refForName="bullet3a"/>
                    <dgm:constr type="w" for="ch" forName="textBox3a" refType="w" fact="0.233"/>
                    <dgm:constr type="h" for="ch" forName="textBox3a" refType="h" fact="0.289"/>
                    <dgm:constr type="userA" refType="h" refFor="ch" refForName="bullet3a" fact="0.53"/>
                    <dgm:constr type="l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l" for="ch" forName="textBox3b" refType="ctrX" refFor="ch" refForName="bullet3b"/>
                    <dgm:constr type="t" for="ch" forName="textBox3b" refType="ctrY" refFor="ch" refForName="bullet3b"/>
                    <dgm:constr type="w" for="ch" forName="textBox3b" refType="w" fact="0.24"/>
                    <dgm:constr type="h" for="ch" forName="textBox3b" refType="h" fact="0.544"/>
                    <dgm:constr type="userB" refType="h" refFor="ch" refForName="bullet3b" fact="0.53"/>
                    <dgm:constr type="l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l" for="ch" forName="textBox3c" refType="ctrX" refFor="ch" refForName="bullet3c"/>
                    <dgm:constr type="t" for="ch" forName="textBox3c" refType="ctrY" refFor="ch" refForName="bullet3c"/>
                    <dgm:constr type="w" for="ch" forName="textBox3c" refType="w" fact="0.24"/>
                    <dgm:constr type="h" for="ch" forName="textBox3c" refType="h" fact="0.695"/>
                    <dgm:constr type="userC" refType="h" refFor="ch" refForName="bullet3c" fact="0.53"/>
                    <dgm:constr type="lMarg" for="ch" forName="textBox3c" refType="userC" fact="2.834"/>
                    <dgm:constr type="primFontSz" for="ch" ptType="node" op="equ" val="65"/>
                  </dgm:constrLst>
                </dgm:if>
                <dgm:else name="Name39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r" for="ch" forName="textBox3a" refType="ctrX" refFor="ch" refForName="bullet3a"/>
                    <dgm:constr type="b" for="ch" forName="textBox3a" refType="ctrY" refFor="ch" refForName="bullet3a"/>
                    <dgm:constr type="w" for="ch" forName="textBox3a" refType="w" fact="0.14"/>
                    <dgm:constr type="h" for="ch" forName="textBox3a" refType="h" fact="0.711"/>
                    <dgm:constr type="userA" refType="h" refFor="ch" refForName="bullet3a" fact="0.53"/>
                    <dgm:constr type="r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r" for="ch" forName="textBox3b" refType="ctrX" refFor="ch" refForName="bullet3b"/>
                    <dgm:constr type="b" for="ch" forName="textBox3b" refType="ctrY" refFor="ch" refForName="bullet3b"/>
                    <dgm:constr type="w" for="ch" forName="textBox3b" refType="w" fact="0.24"/>
                    <dgm:constr type="h" for="ch" forName="textBox3b" refType="h" fact="0.456"/>
                    <dgm:constr type="userB" refType="h" refFor="ch" refForName="bullet3b" fact="0.53"/>
                    <dgm:constr type="r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r" for="ch" forName="textBox3c" refType="ctrX" refFor="ch" refForName="bullet3c"/>
                    <dgm:constr type="b" for="ch" forName="textBox3c" refType="ctrY" refFor="ch" refForName="bullet3c"/>
                    <dgm:constr type="w" for="ch" forName="textBox3c" refType="w" fact="0.24"/>
                    <dgm:constr type="h" for="ch" forName="textBox3c" refType="h" fact="0.305"/>
                    <dgm:constr type="userC" refType="h" refFor="ch" refForName="bullet3c" fact="0.53"/>
                    <dgm:constr type="rMarg" for="ch" forName="textBox3c" refType="userC" fact="2.834"/>
                    <dgm:constr type="primFontSz" for="ch" ptType="node" op="equ" val="65"/>
                  </dgm:constrLst>
                </dgm:else>
              </dgm:choose>
              <dgm:ruleLst/>
              <dgm:forEach name="Name40" axis="ch" ptType="node" cnt="1">
                <dgm:layoutNode name="bullet3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a" styleLbl="revTx">
                  <dgm:varLst>
                    <dgm:bulletEnabled val="1"/>
                  </dgm:varLst>
                  <dgm:choose name="Name41">
                    <dgm:if name="Name42" func="var" arg="dir" op="equ" val="norm">
                      <dgm:choose name="Name43">
                        <dgm:if name="Name4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4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46">
                      <dgm:choose name="Name47">
                        <dgm:if name="Name4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4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50">
                    <dgm:if name="Name5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5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53" axis="ch" ptType="node" st="2" cnt="1">
                <dgm:layoutNode name="bullet3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b" styleLbl="revTx">
                  <dgm:varLst>
                    <dgm:bulletEnabled val="1"/>
                  </dgm:varLst>
                  <dgm:choose name="Name54">
                    <dgm:if name="Name55" func="var" arg="dir" op="equ" val="norm">
                      <dgm:choose name="Name56">
                        <dgm:if name="Name5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5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59">
                      <dgm:choose name="Name60">
                        <dgm:if name="Name6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6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63">
                    <dgm:if name="Name6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6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66" axis="ch" ptType="node" st="3" cnt="1">
                <dgm:layoutNode name="bullet3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c" styleLbl="revTx">
                  <dgm:varLst>
                    <dgm:bulletEnabled val="1"/>
                  </dgm:varLst>
                  <dgm:choose name="Name67">
                    <dgm:if name="Name68" func="var" arg="dir" op="equ" val="norm">
                      <dgm:choose name="Name69">
                        <dgm:if name="Name7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7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72">
                      <dgm:choose name="Name73">
                        <dgm:if name="Name7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7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76">
                    <dgm:if name="Name7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7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79" axis="ch" ptType="node" func="cnt" op="equ" val="4">
            <dgm:layoutNode name="arrowDiagram4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80">
                <dgm:if name="Name81" func="var" arg="dir" op="equ" val="norm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l" for="ch" forName="textBox4a" refType="ctrX" refFor="ch" refForName="bullet4a"/>
                    <dgm:constr type="t" for="ch" forName="textBox4a" refType="ctrY" refFor="ch" refForName="bullet4a"/>
                    <dgm:constr type="w" for="ch" forName="textBox4a" refType="w" fact="0.171"/>
                    <dgm:constr type="h" for="ch" forName="textBox4a" refType="h" fact="0.238"/>
                    <dgm:constr type="userA" refType="h" refFor="ch" refForName="bullet4a" fact="0.53"/>
                    <dgm:constr type="l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l" for="ch" forName="textBox4b" refType="ctrX" refFor="ch" refForName="bullet4b"/>
                    <dgm:constr type="t" for="ch" forName="textBox4b" refType="ctrY" refFor="ch" refForName="bullet4b"/>
                    <dgm:constr type="w" for="ch" forName="textBox4b" refType="w" fact="0.21"/>
                    <dgm:constr type="h" for="ch" forName="textBox4b" refType="h" fact="0.457"/>
                    <dgm:constr type="userB" refType="h" refFor="ch" refForName="bullet4b" fact="0.53"/>
                    <dgm:constr type="l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l" for="ch" forName="textBox4c" refType="ctrX" refFor="ch" refForName="bullet4c"/>
                    <dgm:constr type="t" for="ch" forName="textBox4c" refType="ctrY" refFor="ch" refForName="bullet4c"/>
                    <dgm:constr type="w" for="ch" forName="textBox4c" refType="w" fact="0.21"/>
                    <dgm:constr type="h" for="ch" forName="textBox4c" refType="h" fact="0.618"/>
                    <dgm:constr type="userC" refType="h" refFor="ch" refForName="bullet4c" fact="0.53"/>
                    <dgm:constr type="l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l" for="ch" forName="textBox4d" refType="ctrX" refFor="ch" refForName="bullet4d"/>
                    <dgm:constr type="t" for="ch" forName="textBox4d" refType="ctrY" refFor="ch" refForName="bullet4d"/>
                    <dgm:constr type="w" for="ch" forName="textBox4d" refType="w" fact="0.21"/>
                    <dgm:constr type="h" for="ch" forName="textBox4d" refType="h" fact="0.717"/>
                    <dgm:constr type="userD" refType="h" refFor="ch" refForName="bullet4d" fact="0.53"/>
                    <dgm:constr type="lMarg" for="ch" forName="textBox4d" refType="userD" fact="2.834"/>
                    <dgm:constr type="primFontSz" for="ch" ptType="node" op="equ" val="65"/>
                  </dgm:constrLst>
                </dgm:if>
                <dgm:else name="Name82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r" for="ch" forName="textBox4a" refType="ctrX" refFor="ch" refForName="bullet4a"/>
                    <dgm:constr type="b" for="ch" forName="textBox4a" refType="ctrY" refFor="ch" refForName="bullet4a"/>
                    <dgm:constr type="w" for="ch" forName="textBox4a" refType="w" fact="0.11"/>
                    <dgm:constr type="h" for="ch" forName="textBox4a" refType="h" fact="0.762"/>
                    <dgm:constr type="userA" refType="h" refFor="ch" refForName="bullet4a" fact="0.53"/>
                    <dgm:constr type="r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r" for="ch" forName="textBox4b" refType="ctrX" refFor="ch" refForName="bullet4b"/>
                    <dgm:constr type="b" for="ch" forName="textBox4b" refType="ctrY" refFor="ch" refForName="bullet4b"/>
                    <dgm:constr type="w" for="ch" forName="textBox4b" refType="w" fact="0.171"/>
                    <dgm:constr type="h" for="ch" forName="textBox4b" refType="h" fact="0.543"/>
                    <dgm:constr type="userB" refType="h" refFor="ch" refForName="bullet4b" fact="0.53"/>
                    <dgm:constr type="r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r" for="ch" forName="textBox4c" refType="ctrX" refFor="ch" refForName="bullet4c"/>
                    <dgm:constr type="b" for="ch" forName="textBox4c" refType="ctrY" refFor="ch" refForName="bullet4c"/>
                    <dgm:constr type="w" for="ch" forName="textBox4c" refType="w" fact="0.21"/>
                    <dgm:constr type="h" for="ch" forName="textBox4c" refType="h" fact="0.382"/>
                    <dgm:constr type="userC" refType="h" refFor="ch" refForName="bullet4c" fact="0.53"/>
                    <dgm:constr type="r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r" for="ch" forName="textBox4d" refType="ctrX" refFor="ch" refForName="bullet4d"/>
                    <dgm:constr type="b" for="ch" forName="textBox4d" refType="ctrY" refFor="ch" refForName="bullet4d"/>
                    <dgm:constr type="w" for="ch" forName="textBox4d" refType="w" fact="0.21"/>
                    <dgm:constr type="h" for="ch" forName="textBox4d" refType="h" fact="0.283"/>
                    <dgm:constr type="userD" refType="h" refFor="ch" refForName="bullet4d" fact="0.53"/>
                    <dgm:constr type="rMarg" for="ch" forName="textBox4d" refType="userD" fact="2.834"/>
                    <dgm:constr type="primFontSz" for="ch" ptType="node" op="equ" val="65"/>
                  </dgm:constrLst>
                </dgm:else>
              </dgm:choose>
              <dgm:ruleLst/>
              <dgm:forEach name="Name83" axis="ch" ptType="node" cnt="1">
                <dgm:layoutNode name="bullet4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a" styleLbl="revTx">
                  <dgm:varLst>
                    <dgm:bulletEnabled val="1"/>
                  </dgm:varLst>
                  <dgm:choose name="Name84">
                    <dgm:if name="Name85" func="var" arg="dir" op="equ" val="norm">
                      <dgm:choose name="Name86">
                        <dgm:if name="Name8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8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89">
                      <dgm:choose name="Name90">
                        <dgm:if name="Name9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9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93">
                    <dgm:if name="Name9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9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96" axis="ch" ptType="node" st="2" cnt="1">
                <dgm:layoutNode name="bullet4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b" styleLbl="revTx">
                  <dgm:varLst>
                    <dgm:bulletEnabled val="1"/>
                  </dgm:varLst>
                  <dgm:choose name="Name97">
                    <dgm:if name="Name98" func="var" arg="dir" op="equ" val="norm">
                      <dgm:choose name="Name99">
                        <dgm:if name="Name10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0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0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06">
                    <dgm:if name="Name10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0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09" axis="ch" ptType="node" st="3" cnt="1">
                <dgm:layoutNode name="bullet4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c" styleLbl="revTx">
                  <dgm:varLst>
                    <dgm:bulletEnabled val="1"/>
                  </dgm:varLst>
                  <dgm:choose name="Name110">
                    <dgm:if name="Name111" func="var" arg="dir" op="equ" val="norm">
                      <dgm:choose name="Name112">
                        <dgm:if name="Name11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1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15">
                      <dgm:choose name="Name116">
                        <dgm:if name="Name11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1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19">
                    <dgm:if name="Name12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2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22" axis="ch" ptType="node" st="4" cnt="1">
                <dgm:layoutNode name="bullet4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d" styleLbl="revTx">
                  <dgm:varLst>
                    <dgm:bulletEnabled val="1"/>
                  </dgm:varLst>
                  <dgm:choose name="Name123">
                    <dgm:if name="Name124" func="var" arg="dir" op="equ" val="norm">
                      <dgm:choose name="Name125">
                        <dgm:if name="Name12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2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28">
                      <dgm:choose name="Name129">
                        <dgm:if name="Name13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3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32">
                    <dgm:if name="Name13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3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else name="Name135">
            <dgm:layoutNode name="arrowDiagram5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136">
                <dgm:if name="Name137" func="var" arg="dir" op="equ" val="norm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l" for="ch" forName="textBox5a" refType="ctrX" refFor="ch" refForName="bullet5a"/>
                    <dgm:constr type="t" for="ch" forName="textBox5a" refType="ctrY" refFor="ch" refForName="bullet5a"/>
                    <dgm:constr type="w" for="ch" forName="textBox5a" refType="w" fact="0.131"/>
                    <dgm:constr type="h" for="ch" forName="textBox5a" refType="h" fact="0.238"/>
                    <dgm:constr type="userA" refType="h" refFor="ch" refForName="bullet5a" fact="0.53"/>
                    <dgm:constr type="l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l" for="ch" forName="textBox5b" refType="ctrX" refFor="ch" refForName="bullet5b"/>
                    <dgm:constr type="t" for="ch" forName="textBox5b" refType="ctrY" refFor="ch" refForName="bullet5b"/>
                    <dgm:constr type="w" for="ch" forName="textBox5b" refType="w" fact="0.166"/>
                    <dgm:constr type="h" for="ch" forName="textBox5b" refType="h" fact="0.419"/>
                    <dgm:constr type="userB" refType="h" refFor="ch" refForName="bullet5b" fact="0.53"/>
                    <dgm:constr type="l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l" for="ch" forName="textBox5c" refType="ctrX" refFor="ch" refForName="bullet5c"/>
                    <dgm:constr type="t" for="ch" forName="textBox5c" refType="ctrY" refFor="ch" refForName="bullet5c"/>
                    <dgm:constr type="w" for="ch" forName="textBox5c" refType="w" fact="0.193"/>
                    <dgm:constr type="h" for="ch" forName="textBox5c" refType="h" fact="0.562"/>
                    <dgm:constr type="userC" refType="h" refFor="ch" refForName="bullet5c" fact="0.53"/>
                    <dgm:constr type="l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l" for="ch" forName="textBox5d" refType="ctrX" refFor="ch" refForName="bullet5d"/>
                    <dgm:constr type="t" for="ch" forName="textBox5d" refType="ctrY" refFor="ch" refForName="bullet5d"/>
                    <dgm:constr type="w" for="ch" forName="textBox5d" refType="w" fact="0.2"/>
                    <dgm:constr type="h" for="ch" forName="textBox5d" refType="h" fact="0.67"/>
                    <dgm:constr type="userD" refType="h" refFor="ch" refForName="bullet5d" fact="0.53"/>
                    <dgm:constr type="l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l" for="ch" forName="textBox5e" refType="ctrX" refFor="ch" refForName="bullet5e"/>
                    <dgm:constr type="t" for="ch" forName="textBox5e" refType="ctrY" refFor="ch" refForName="bullet5e"/>
                    <dgm:constr type="w" for="ch" forName="textBox5e" refType="w" fact="0.2"/>
                    <dgm:constr type="h" for="ch" forName="textBox5e" refType="h" fact="0.736"/>
                    <dgm:constr type="userE" refType="h" refFor="ch" refForName="bullet5e" fact="0.53"/>
                    <dgm:constr type="lMarg" for="ch" forName="textBox5e" refType="userE" fact="2.834"/>
                    <dgm:constr type="primFontSz" for="ch" ptType="node" op="equ" val="65"/>
                  </dgm:constrLst>
                </dgm:if>
                <dgm:else name="Name138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r" for="ch" forName="textBox5a" refType="ctrX" refFor="ch" refForName="bullet5a"/>
                    <dgm:constr type="b" for="ch" forName="textBox5a" refType="ctrY" refFor="ch" refForName="bullet5a"/>
                    <dgm:constr type="w" for="ch" forName="textBox5a" refType="w" fact="0.11"/>
                    <dgm:constr type="h" for="ch" forName="textBox5a" refType="h" fact="0.762"/>
                    <dgm:constr type="userA" refType="h" refFor="ch" refForName="bullet5a" fact="0.53"/>
                    <dgm:constr type="r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r" for="ch" forName="textBox5b" refType="ctrX" refFor="ch" refForName="bullet5b"/>
                    <dgm:constr type="b" for="ch" forName="textBox5b" refType="ctrY" refFor="ch" refForName="bullet5b"/>
                    <dgm:constr type="w" for="ch" forName="textBox5b" refType="w" fact="0.131"/>
                    <dgm:constr type="h" for="ch" forName="textBox5b" refType="h" fact="0.581"/>
                    <dgm:constr type="userB" refType="h" refFor="ch" refForName="bullet5b" fact="0.53"/>
                    <dgm:constr type="r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r" for="ch" forName="textBox5c" refType="ctrX" refFor="ch" refForName="bullet5c"/>
                    <dgm:constr type="b" for="ch" forName="textBox5c" refType="ctrY" refFor="ch" refForName="bullet5c"/>
                    <dgm:constr type="w" for="ch" forName="textBox5c" refType="w" fact="0.166"/>
                    <dgm:constr type="h" for="ch" forName="textBox5c" refType="h" fact="0.438"/>
                    <dgm:constr type="userC" refType="h" refFor="ch" refForName="bullet5c" fact="0.53"/>
                    <dgm:constr type="r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r" for="ch" forName="textBox5d" refType="ctrX" refFor="ch" refForName="bullet5d"/>
                    <dgm:constr type="b" for="ch" forName="textBox5d" refType="ctrY" refFor="ch" refForName="bullet5d"/>
                    <dgm:constr type="w" for="ch" forName="textBox5d" refType="w" fact="0.193"/>
                    <dgm:constr type="h" for="ch" forName="textBox5d" refType="h" fact="0.33"/>
                    <dgm:constr type="userD" refType="h" refFor="ch" refForName="bullet5d" fact="0.53"/>
                    <dgm:constr type="r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r" for="ch" forName="textBox5e" refType="ctrX" refFor="ch" refForName="bullet5e"/>
                    <dgm:constr type="b" for="ch" forName="textBox5e" refType="ctrY" refFor="ch" refForName="bullet5e"/>
                    <dgm:constr type="w" for="ch" forName="textBox5e" refType="w" fact="0.2"/>
                    <dgm:constr type="h" for="ch" forName="textBox5e" refType="h" fact="0.264"/>
                    <dgm:constr type="userE" refType="h" refFor="ch" refForName="bullet5e" fact="0.53"/>
                    <dgm:constr type="rMarg" for="ch" forName="textBox5e" refType="userE" fact="2.834"/>
                    <dgm:constr type="primFontSz" for="ch" ptType="node" op="equ" val="65"/>
                  </dgm:constrLst>
                </dgm:else>
              </dgm:choose>
              <dgm:ruleLst/>
              <dgm:forEach name="Name139" axis="ch" ptType="node" cnt="1">
                <dgm:layoutNode name="bullet5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a" styleLbl="revTx">
                  <dgm:varLst>
                    <dgm:bulletEnabled val="1"/>
                  </dgm:varLst>
                  <dgm:choose name="Name140">
                    <dgm:if name="Name141" func="var" arg="dir" op="equ" val="norm">
                      <dgm:choose name="Name142">
                        <dgm:if name="Name14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4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45">
                      <dgm:choose name="Name146">
                        <dgm:if name="Name14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4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49">
                    <dgm:if name="Name15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5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52" axis="ch" ptType="node" st="2" cnt="1">
                <dgm:layoutNode name="bullet5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b" styleLbl="revTx">
                  <dgm:varLst>
                    <dgm:bulletEnabled val="1"/>
                  </dgm:varLst>
                  <dgm:choose name="Name153">
                    <dgm:if name="Name154" func="var" arg="dir" op="equ" val="norm">
                      <dgm:choose name="Name155">
                        <dgm:if name="Name15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58">
                      <dgm:choose name="Name159">
                        <dgm:if name="Name16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6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62">
                    <dgm:if name="Name16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6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65" axis="ch" ptType="node" st="3" cnt="1">
                <dgm:layoutNode name="bullet5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c" styleLbl="revTx">
                  <dgm:varLst>
                    <dgm:bulletEnabled val="1"/>
                  </dgm:varLst>
                  <dgm:choose name="Name166">
                    <dgm:if name="Name167" func="var" arg="dir" op="equ" val="norm">
                      <dgm:choose name="Name168">
                        <dgm:if name="Name169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70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71">
                      <dgm:choose name="Name172">
                        <dgm:if name="Name173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74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75">
                    <dgm:if name="Name176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77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78" axis="ch" ptType="node" st="4" cnt="1">
                <dgm:layoutNode name="bullet5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d" styleLbl="revTx">
                  <dgm:varLst>
                    <dgm:bulletEnabled val="1"/>
                  </dgm:varLst>
                  <dgm:choose name="Name179">
                    <dgm:if name="Name180" func="var" arg="dir" op="equ" val="norm">
                      <dgm:choose name="Name181">
                        <dgm:if name="Name182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83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84">
                      <dgm:choose name="Name185">
                        <dgm:if name="Name186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87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88">
                    <dgm:if name="Name189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90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91" axis="ch" ptType="node" st="5" cnt="1">
                <dgm:layoutNode name="bullet5e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e" styleLbl="revTx">
                  <dgm:varLst>
                    <dgm:bulletEnabled val="1"/>
                  </dgm:varLst>
                  <dgm:choose name="Name192">
                    <dgm:if name="Name193" func="var" arg="dir" op="equ" val="norm">
                      <dgm:choose name="Name194">
                        <dgm:if name="Name195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96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97">
                      <dgm:choose name="Name198">
                        <dgm:if name="Name199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200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1">
                    <dgm:if name="Name202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03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else>
        </dgm:choose>
      </dgm:if>
      <dgm:else name="Name204"/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arrow2">
  <dgm:title val=""/>
  <dgm:desc val=""/>
  <dgm:catLst>
    <dgm:cat type="process" pri="2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arrowDiagram">
    <dgm:varLst>
      <dgm:chMax val="5"/>
      <dgm:dir/>
      <dgm:resizeHandles val="exact"/>
    </dgm:varLst>
    <dgm:alg type="composite">
      <dgm:param type="ar" val="1.6"/>
    </dgm:alg>
    <dgm:shape xmlns:r="http://schemas.openxmlformats.org/officeDocument/2006/relationships" r:blip="">
      <dgm:adjLst/>
    </dgm:shape>
    <dgm:presOf/>
    <dgm:constrLst>
      <dgm:constr type="l" for="ch" forName="arrow"/>
      <dgm:constr type="t" for="ch" forName="arrow"/>
      <dgm:constr type="w" for="ch" forName="arrow" refType="w"/>
      <dgm:constr type="h" for="ch" forName="arrow" refType="h"/>
      <dgm:constr type="ctrX" for="ch" forName="arrowDiagram1" refType="w" fact="0.5"/>
      <dgm:constr type="ctrY" for="ch" forName="arrowDiagram1" refType="h" fact="0.5"/>
      <dgm:constr type="w" for="ch" forName="arrowDiagram1" refType="w"/>
      <dgm:constr type="h" for="ch" forName="arrowDiagram1" refType="h"/>
      <dgm:constr type="ctrX" for="ch" forName="arrowDiagram2" refType="w" fact="0.5"/>
      <dgm:constr type="ctrY" for="ch" forName="arrowDiagram2" refType="h" fact="0.5"/>
      <dgm:constr type="w" for="ch" forName="arrowDiagram2" refType="w"/>
      <dgm:constr type="h" for="ch" forName="arrowDiagram2" refType="h"/>
      <dgm:constr type="ctrX" for="ch" forName="arrowDiagram3" refType="w" fact="0.5"/>
      <dgm:constr type="ctrY" for="ch" forName="arrowDiagram3" refType="h" fact="0.5"/>
      <dgm:constr type="w" for="ch" forName="arrowDiagram3" refType="w"/>
      <dgm:constr type="h" for="ch" forName="arrowDiagram3" refType="h"/>
      <dgm:constr type="ctrX" for="ch" forName="arrowDiagram4" refType="w" fact="0.5"/>
      <dgm:constr type="ctrY" for="ch" forName="arrowDiagram4" refType="h" fact="0.5"/>
      <dgm:constr type="w" for="ch" forName="arrowDiagram4" refType="w"/>
      <dgm:constr type="h" for="ch" forName="arrowDiagram4" refType="h"/>
      <dgm:constr type="ctrX" for="ch" forName="arrowDiagram5" refType="w" fact="0.5"/>
      <dgm:constr type="ctrY" for="ch" forName="arrowDiagram5" refType="h" fact="0.5"/>
      <dgm:constr type="w" for="ch" forName="arrowDiagram5" refType="w"/>
      <dgm:constr type="h" for="ch" forName="arrowDiagram5" refType="h"/>
    </dgm:constrLst>
    <dgm:ruleLst/>
    <dgm:choose name="Name0">
      <dgm:if name="Name1" axis="ch" ptType="node" func="cnt" op="gte" val="1">
        <dgm:layoutNode name="arrow" styleLbl="bgShp">
          <dgm:alg type="sp"/>
          <dgm:shape xmlns:r="http://schemas.openxmlformats.org/officeDocument/2006/relationships" type="swooshArrow" r:blip="">
            <dgm:adjLst>
              <dgm:adj idx="2" val="0.25"/>
            </dgm:adjLst>
          </dgm:shape>
          <dgm:presOf/>
          <dgm:constrLst/>
          <dgm:ruleLst/>
        </dgm:layoutNode>
        <dgm:choose name="Name2">
          <dgm:if name="Name3" axis="ch" ptType="node" func="cnt" op="lt" val="1"/>
          <dgm:if name="Name4" axis="ch" ptType="node" func="cnt" op="equ" val="1">
            <dgm:layoutNode name="arrowDiagram1">
              <dgm:varLst>
                <dgm:bulletEnabled val="1"/>
              </dgm:varLst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ctrX" for="ch" forName="bullet1" refType="w" fact="0.8"/>
                <dgm:constr type="ctrY" for="ch" forName="bullet1" refType="h" fact="0.262"/>
                <dgm:constr type="w" for="ch" forName="bullet1" refType="w" fact="0.074"/>
                <dgm:constr type="h" for="ch" forName="bullet1" refType="w" refFor="ch" refForName="bullet1"/>
                <dgm:constr type="r" for="ch" forName="textBox1" refType="ctrX" refFor="ch" refForName="bullet1"/>
                <dgm:constr type="t" for="ch" forName="textBox1" refType="ctrY" refFor="ch" refForName="bullet1"/>
                <dgm:constr type="w" for="ch" forName="textBox1" refType="w" fact="0.4"/>
                <dgm:constr type="h" for="ch" forName="textBox1" refType="h" fact="0.738"/>
                <dgm:constr type="userA" refType="h" refFor="ch" refForName="bullet1" fact="0.53"/>
                <dgm:constr type="rMarg" for="ch" forName="textBox1" refType="userA" fact="2.834"/>
                <dgm:constr type="primFontSz" for="ch" ptType="node" op="equ" val="65"/>
              </dgm:constrLst>
              <dgm:ruleLst/>
              <dgm:forEach name="Name5" axis="ch" ptType="node" cnt="1">
                <dgm:layoutNode name="bullet1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1" styleLbl="revTx">
                  <dgm:varLst>
                    <dgm:bulletEnabled val="1"/>
                  </dgm:varLst>
                  <dgm:alg type="tx">
                    <dgm:param type="txAnchorVert" val="t"/>
                    <dgm:param type="parTxLTRAlign" val="r"/>
                    <dgm:param type="parTxRTLAlign" val="r"/>
                  </dgm:alg>
                  <dgm:shape xmlns:r="http://schemas.openxmlformats.org/officeDocument/2006/relationships" type="round2DiagRect" r:blip="">
                    <dgm:adjLst/>
                  </dgm:shape>
                  <dgm:presOf axis="desOrSelf" ptType="node"/>
                  <dgm:constrLst>
                    <dgm:constr type="lMarg"/>
                    <dgm:constr type="tMarg"/>
                    <dgm:constr type="bMarg"/>
                  </dgm:constrLst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6" axis="ch" ptType="node" func="cnt" op="equ" val="2">
            <dgm:layoutNode name="arrowDiagram2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7">
                <dgm:if name="Name8" func="var" arg="dir" op="equ" val="norm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l" for="ch" forName="textBox2a" refType="ctrX" refFor="ch" refForName="bullet2a"/>
                    <dgm:constr type="t" for="ch" forName="textBox2a" refType="ctrY" refFor="ch" refForName="bullet2a"/>
                    <dgm:constr type="w" for="ch" forName="textBox2a" refType="w" fact="0.325"/>
                    <dgm:constr type="h" for="ch" forName="textBox2a" refType="h" fact="0.427"/>
                    <dgm:constr type="userA" refType="h" refFor="ch" refForName="bullet2a" fact="0.53"/>
                    <dgm:constr type="l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l" for="ch" forName="textBox2b" refType="ctrX" refFor="ch" refForName="bullet2b"/>
                    <dgm:constr type="t" for="ch" forName="textBox2b" refType="ctrY" refFor="ch" refForName="bullet2b"/>
                    <dgm:constr type="w" for="ch" forName="textBox2b" refType="w" fact="0.325"/>
                    <dgm:constr type="h" for="ch" forName="textBox2b" refType="h" fact="0.662"/>
                    <dgm:constr type="userB" refType="h" refFor="ch" refForName="bullet2b" fact="0.53"/>
                    <dgm:constr type="lMarg" for="ch" forName="textBox2b" refType="userB" fact="2.834"/>
                    <dgm:constr type="primFontSz" for="ch" ptType="node" op="equ" val="65"/>
                  </dgm:constrLst>
                </dgm:if>
                <dgm:else name="Name9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r" for="ch" forName="textBox2a" refType="ctrX" refFor="ch" refForName="bullet2a"/>
                    <dgm:constr type="b" for="ch" forName="textBox2a" refType="ctrY" refFor="ch" refForName="bullet2a"/>
                    <dgm:constr type="w" for="ch" forName="textBox2a" refType="w" fact="0.25"/>
                    <dgm:constr type="h" for="ch" forName="textBox2a" refType="h" fact="0.573"/>
                    <dgm:constr type="userA" refType="h" refFor="ch" refForName="bullet2a" fact="0.53"/>
                    <dgm:constr type="r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r" for="ch" forName="textBox2b" refType="ctrX" refFor="ch" refForName="bullet2b"/>
                    <dgm:constr type="b" for="ch" forName="textBox2b" refType="ctrY" refFor="ch" refForName="bullet2b"/>
                    <dgm:constr type="w" for="ch" forName="textBox2b" refType="w" fact="0.28"/>
                    <dgm:constr type="h" for="ch" forName="textBox2b" refType="h" fact="0.338"/>
                    <dgm:constr type="userB" refType="h" refFor="ch" refForName="bullet2b" fact="0.53"/>
                    <dgm:constr type="rMarg" for="ch" forName="textBox2b" refType="userB" fact="2.834"/>
                    <dgm:constr type="primFontSz" for="ch" ptType="node" op="equ" val="65"/>
                  </dgm:constrLst>
                </dgm:else>
              </dgm:choose>
              <dgm:ruleLst/>
              <dgm:forEach name="Name10" axis="ch" ptType="node" cnt="1">
                <dgm:layoutNode name="bullet2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a" styleLbl="revTx">
                  <dgm:varLst>
                    <dgm:bulletEnabled val="1"/>
                  </dgm:varLst>
                  <dgm:choose name="Name11">
                    <dgm:if name="Name12" func="var" arg="dir" op="equ" val="norm">
                      <dgm:choose name="Name13">
                        <dgm:if name="Name1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6">
                      <dgm:choose name="Name17">
                        <dgm:if name="Name1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">
                    <dgm:if name="Name2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23" axis="ch" ptType="node" st="2" cnt="1">
                <dgm:layoutNode name="bullet2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b" styleLbl="revTx">
                  <dgm:varLst>
                    <dgm:bulletEnabled val="1"/>
                  </dgm:varLst>
                  <dgm:choose name="Name24">
                    <dgm:if name="Name25" func="var" arg="dir" op="equ" val="norm">
                      <dgm:choose name="Name26">
                        <dgm:if name="Name2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2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29">
                      <dgm:choose name="Name30">
                        <dgm:if name="Name3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3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33">
                    <dgm:if name="Name3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3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36" axis="ch" ptType="node" func="cnt" op="equ" val="3">
            <dgm:layoutNode name="arrowDiagram3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37">
                <dgm:if name="Name38" func="var" arg="dir" op="equ" val="norm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l" for="ch" forName="textBox3a" refType="ctrX" refFor="ch" refForName="bullet3a"/>
                    <dgm:constr type="t" for="ch" forName="textBox3a" refType="ctrY" refFor="ch" refForName="bullet3a"/>
                    <dgm:constr type="w" for="ch" forName="textBox3a" refType="w" fact="0.233"/>
                    <dgm:constr type="h" for="ch" forName="textBox3a" refType="h" fact="0.289"/>
                    <dgm:constr type="userA" refType="h" refFor="ch" refForName="bullet3a" fact="0.53"/>
                    <dgm:constr type="l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l" for="ch" forName="textBox3b" refType="ctrX" refFor="ch" refForName="bullet3b"/>
                    <dgm:constr type="t" for="ch" forName="textBox3b" refType="ctrY" refFor="ch" refForName="bullet3b"/>
                    <dgm:constr type="w" for="ch" forName="textBox3b" refType="w" fact="0.24"/>
                    <dgm:constr type="h" for="ch" forName="textBox3b" refType="h" fact="0.544"/>
                    <dgm:constr type="userB" refType="h" refFor="ch" refForName="bullet3b" fact="0.53"/>
                    <dgm:constr type="l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l" for="ch" forName="textBox3c" refType="ctrX" refFor="ch" refForName="bullet3c"/>
                    <dgm:constr type="t" for="ch" forName="textBox3c" refType="ctrY" refFor="ch" refForName="bullet3c"/>
                    <dgm:constr type="w" for="ch" forName="textBox3c" refType="w" fact="0.24"/>
                    <dgm:constr type="h" for="ch" forName="textBox3c" refType="h" fact="0.695"/>
                    <dgm:constr type="userC" refType="h" refFor="ch" refForName="bullet3c" fact="0.53"/>
                    <dgm:constr type="lMarg" for="ch" forName="textBox3c" refType="userC" fact="2.834"/>
                    <dgm:constr type="primFontSz" for="ch" ptType="node" op="equ" val="65"/>
                  </dgm:constrLst>
                </dgm:if>
                <dgm:else name="Name39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r" for="ch" forName="textBox3a" refType="ctrX" refFor="ch" refForName="bullet3a"/>
                    <dgm:constr type="b" for="ch" forName="textBox3a" refType="ctrY" refFor="ch" refForName="bullet3a"/>
                    <dgm:constr type="w" for="ch" forName="textBox3a" refType="w" fact="0.14"/>
                    <dgm:constr type="h" for="ch" forName="textBox3a" refType="h" fact="0.711"/>
                    <dgm:constr type="userA" refType="h" refFor="ch" refForName="bullet3a" fact="0.53"/>
                    <dgm:constr type="r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r" for="ch" forName="textBox3b" refType="ctrX" refFor="ch" refForName="bullet3b"/>
                    <dgm:constr type="b" for="ch" forName="textBox3b" refType="ctrY" refFor="ch" refForName="bullet3b"/>
                    <dgm:constr type="w" for="ch" forName="textBox3b" refType="w" fact="0.24"/>
                    <dgm:constr type="h" for="ch" forName="textBox3b" refType="h" fact="0.456"/>
                    <dgm:constr type="userB" refType="h" refFor="ch" refForName="bullet3b" fact="0.53"/>
                    <dgm:constr type="r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r" for="ch" forName="textBox3c" refType="ctrX" refFor="ch" refForName="bullet3c"/>
                    <dgm:constr type="b" for="ch" forName="textBox3c" refType="ctrY" refFor="ch" refForName="bullet3c"/>
                    <dgm:constr type="w" for="ch" forName="textBox3c" refType="w" fact="0.24"/>
                    <dgm:constr type="h" for="ch" forName="textBox3c" refType="h" fact="0.305"/>
                    <dgm:constr type="userC" refType="h" refFor="ch" refForName="bullet3c" fact="0.53"/>
                    <dgm:constr type="rMarg" for="ch" forName="textBox3c" refType="userC" fact="2.834"/>
                    <dgm:constr type="primFontSz" for="ch" ptType="node" op="equ" val="65"/>
                  </dgm:constrLst>
                </dgm:else>
              </dgm:choose>
              <dgm:ruleLst/>
              <dgm:forEach name="Name40" axis="ch" ptType="node" cnt="1">
                <dgm:layoutNode name="bullet3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a" styleLbl="revTx">
                  <dgm:varLst>
                    <dgm:bulletEnabled val="1"/>
                  </dgm:varLst>
                  <dgm:choose name="Name41">
                    <dgm:if name="Name42" func="var" arg="dir" op="equ" val="norm">
                      <dgm:choose name="Name43">
                        <dgm:if name="Name4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4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46">
                      <dgm:choose name="Name47">
                        <dgm:if name="Name4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4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50">
                    <dgm:if name="Name5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5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53" axis="ch" ptType="node" st="2" cnt="1">
                <dgm:layoutNode name="bullet3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b" styleLbl="revTx">
                  <dgm:varLst>
                    <dgm:bulletEnabled val="1"/>
                  </dgm:varLst>
                  <dgm:choose name="Name54">
                    <dgm:if name="Name55" func="var" arg="dir" op="equ" val="norm">
                      <dgm:choose name="Name56">
                        <dgm:if name="Name5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5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59">
                      <dgm:choose name="Name60">
                        <dgm:if name="Name6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6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63">
                    <dgm:if name="Name6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6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66" axis="ch" ptType="node" st="3" cnt="1">
                <dgm:layoutNode name="bullet3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c" styleLbl="revTx">
                  <dgm:varLst>
                    <dgm:bulletEnabled val="1"/>
                  </dgm:varLst>
                  <dgm:choose name="Name67">
                    <dgm:if name="Name68" func="var" arg="dir" op="equ" val="norm">
                      <dgm:choose name="Name69">
                        <dgm:if name="Name7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7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72">
                      <dgm:choose name="Name73">
                        <dgm:if name="Name7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7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76">
                    <dgm:if name="Name7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7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79" axis="ch" ptType="node" func="cnt" op="equ" val="4">
            <dgm:layoutNode name="arrowDiagram4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80">
                <dgm:if name="Name81" func="var" arg="dir" op="equ" val="norm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l" for="ch" forName="textBox4a" refType="ctrX" refFor="ch" refForName="bullet4a"/>
                    <dgm:constr type="t" for="ch" forName="textBox4a" refType="ctrY" refFor="ch" refForName="bullet4a"/>
                    <dgm:constr type="w" for="ch" forName="textBox4a" refType="w" fact="0.171"/>
                    <dgm:constr type="h" for="ch" forName="textBox4a" refType="h" fact="0.238"/>
                    <dgm:constr type="userA" refType="h" refFor="ch" refForName="bullet4a" fact="0.53"/>
                    <dgm:constr type="l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l" for="ch" forName="textBox4b" refType="ctrX" refFor="ch" refForName="bullet4b"/>
                    <dgm:constr type="t" for="ch" forName="textBox4b" refType="ctrY" refFor="ch" refForName="bullet4b"/>
                    <dgm:constr type="w" for="ch" forName="textBox4b" refType="w" fact="0.21"/>
                    <dgm:constr type="h" for="ch" forName="textBox4b" refType="h" fact="0.457"/>
                    <dgm:constr type="userB" refType="h" refFor="ch" refForName="bullet4b" fact="0.53"/>
                    <dgm:constr type="l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l" for="ch" forName="textBox4c" refType="ctrX" refFor="ch" refForName="bullet4c"/>
                    <dgm:constr type="t" for="ch" forName="textBox4c" refType="ctrY" refFor="ch" refForName="bullet4c"/>
                    <dgm:constr type="w" for="ch" forName="textBox4c" refType="w" fact="0.21"/>
                    <dgm:constr type="h" for="ch" forName="textBox4c" refType="h" fact="0.618"/>
                    <dgm:constr type="userC" refType="h" refFor="ch" refForName="bullet4c" fact="0.53"/>
                    <dgm:constr type="l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l" for="ch" forName="textBox4d" refType="ctrX" refFor="ch" refForName="bullet4d"/>
                    <dgm:constr type="t" for="ch" forName="textBox4d" refType="ctrY" refFor="ch" refForName="bullet4d"/>
                    <dgm:constr type="w" for="ch" forName="textBox4d" refType="w" fact="0.21"/>
                    <dgm:constr type="h" for="ch" forName="textBox4d" refType="h" fact="0.717"/>
                    <dgm:constr type="userD" refType="h" refFor="ch" refForName="bullet4d" fact="0.53"/>
                    <dgm:constr type="lMarg" for="ch" forName="textBox4d" refType="userD" fact="2.834"/>
                    <dgm:constr type="primFontSz" for="ch" ptType="node" op="equ" val="65"/>
                  </dgm:constrLst>
                </dgm:if>
                <dgm:else name="Name82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r" for="ch" forName="textBox4a" refType="ctrX" refFor="ch" refForName="bullet4a"/>
                    <dgm:constr type="b" for="ch" forName="textBox4a" refType="ctrY" refFor="ch" refForName="bullet4a"/>
                    <dgm:constr type="w" for="ch" forName="textBox4a" refType="w" fact="0.11"/>
                    <dgm:constr type="h" for="ch" forName="textBox4a" refType="h" fact="0.762"/>
                    <dgm:constr type="userA" refType="h" refFor="ch" refForName="bullet4a" fact="0.53"/>
                    <dgm:constr type="r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r" for="ch" forName="textBox4b" refType="ctrX" refFor="ch" refForName="bullet4b"/>
                    <dgm:constr type="b" for="ch" forName="textBox4b" refType="ctrY" refFor="ch" refForName="bullet4b"/>
                    <dgm:constr type="w" for="ch" forName="textBox4b" refType="w" fact="0.171"/>
                    <dgm:constr type="h" for="ch" forName="textBox4b" refType="h" fact="0.543"/>
                    <dgm:constr type="userB" refType="h" refFor="ch" refForName="bullet4b" fact="0.53"/>
                    <dgm:constr type="r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r" for="ch" forName="textBox4c" refType="ctrX" refFor="ch" refForName="bullet4c"/>
                    <dgm:constr type="b" for="ch" forName="textBox4c" refType="ctrY" refFor="ch" refForName="bullet4c"/>
                    <dgm:constr type="w" for="ch" forName="textBox4c" refType="w" fact="0.21"/>
                    <dgm:constr type="h" for="ch" forName="textBox4c" refType="h" fact="0.382"/>
                    <dgm:constr type="userC" refType="h" refFor="ch" refForName="bullet4c" fact="0.53"/>
                    <dgm:constr type="r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r" for="ch" forName="textBox4d" refType="ctrX" refFor="ch" refForName="bullet4d"/>
                    <dgm:constr type="b" for="ch" forName="textBox4d" refType="ctrY" refFor="ch" refForName="bullet4d"/>
                    <dgm:constr type="w" for="ch" forName="textBox4d" refType="w" fact="0.21"/>
                    <dgm:constr type="h" for="ch" forName="textBox4d" refType="h" fact="0.283"/>
                    <dgm:constr type="userD" refType="h" refFor="ch" refForName="bullet4d" fact="0.53"/>
                    <dgm:constr type="rMarg" for="ch" forName="textBox4d" refType="userD" fact="2.834"/>
                    <dgm:constr type="primFontSz" for="ch" ptType="node" op="equ" val="65"/>
                  </dgm:constrLst>
                </dgm:else>
              </dgm:choose>
              <dgm:ruleLst/>
              <dgm:forEach name="Name83" axis="ch" ptType="node" cnt="1">
                <dgm:layoutNode name="bullet4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a" styleLbl="revTx">
                  <dgm:varLst>
                    <dgm:bulletEnabled val="1"/>
                  </dgm:varLst>
                  <dgm:choose name="Name84">
                    <dgm:if name="Name85" func="var" arg="dir" op="equ" val="norm">
                      <dgm:choose name="Name86">
                        <dgm:if name="Name8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8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89">
                      <dgm:choose name="Name90">
                        <dgm:if name="Name9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9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93">
                    <dgm:if name="Name9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9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96" axis="ch" ptType="node" st="2" cnt="1">
                <dgm:layoutNode name="bullet4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b" styleLbl="revTx">
                  <dgm:varLst>
                    <dgm:bulletEnabled val="1"/>
                  </dgm:varLst>
                  <dgm:choose name="Name97">
                    <dgm:if name="Name98" func="var" arg="dir" op="equ" val="norm">
                      <dgm:choose name="Name99">
                        <dgm:if name="Name10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0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0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06">
                    <dgm:if name="Name10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0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09" axis="ch" ptType="node" st="3" cnt="1">
                <dgm:layoutNode name="bullet4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c" styleLbl="revTx">
                  <dgm:varLst>
                    <dgm:bulletEnabled val="1"/>
                  </dgm:varLst>
                  <dgm:choose name="Name110">
                    <dgm:if name="Name111" func="var" arg="dir" op="equ" val="norm">
                      <dgm:choose name="Name112">
                        <dgm:if name="Name11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1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15">
                      <dgm:choose name="Name116">
                        <dgm:if name="Name11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1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19">
                    <dgm:if name="Name12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2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22" axis="ch" ptType="node" st="4" cnt="1">
                <dgm:layoutNode name="bullet4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d" styleLbl="revTx">
                  <dgm:varLst>
                    <dgm:bulletEnabled val="1"/>
                  </dgm:varLst>
                  <dgm:choose name="Name123">
                    <dgm:if name="Name124" func="var" arg="dir" op="equ" val="norm">
                      <dgm:choose name="Name125">
                        <dgm:if name="Name12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2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28">
                      <dgm:choose name="Name129">
                        <dgm:if name="Name13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3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32">
                    <dgm:if name="Name13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3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else name="Name135">
            <dgm:layoutNode name="arrowDiagram5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136">
                <dgm:if name="Name137" func="var" arg="dir" op="equ" val="norm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l" for="ch" forName="textBox5a" refType="ctrX" refFor="ch" refForName="bullet5a"/>
                    <dgm:constr type="t" for="ch" forName="textBox5a" refType="ctrY" refFor="ch" refForName="bullet5a"/>
                    <dgm:constr type="w" for="ch" forName="textBox5a" refType="w" fact="0.131"/>
                    <dgm:constr type="h" for="ch" forName="textBox5a" refType="h" fact="0.238"/>
                    <dgm:constr type="userA" refType="h" refFor="ch" refForName="bullet5a" fact="0.53"/>
                    <dgm:constr type="l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l" for="ch" forName="textBox5b" refType="ctrX" refFor="ch" refForName="bullet5b"/>
                    <dgm:constr type="t" for="ch" forName="textBox5b" refType="ctrY" refFor="ch" refForName="bullet5b"/>
                    <dgm:constr type="w" for="ch" forName="textBox5b" refType="w" fact="0.166"/>
                    <dgm:constr type="h" for="ch" forName="textBox5b" refType="h" fact="0.419"/>
                    <dgm:constr type="userB" refType="h" refFor="ch" refForName="bullet5b" fact="0.53"/>
                    <dgm:constr type="l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l" for="ch" forName="textBox5c" refType="ctrX" refFor="ch" refForName="bullet5c"/>
                    <dgm:constr type="t" for="ch" forName="textBox5c" refType="ctrY" refFor="ch" refForName="bullet5c"/>
                    <dgm:constr type="w" for="ch" forName="textBox5c" refType="w" fact="0.193"/>
                    <dgm:constr type="h" for="ch" forName="textBox5c" refType="h" fact="0.562"/>
                    <dgm:constr type="userC" refType="h" refFor="ch" refForName="bullet5c" fact="0.53"/>
                    <dgm:constr type="l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l" for="ch" forName="textBox5d" refType="ctrX" refFor="ch" refForName="bullet5d"/>
                    <dgm:constr type="t" for="ch" forName="textBox5d" refType="ctrY" refFor="ch" refForName="bullet5d"/>
                    <dgm:constr type="w" for="ch" forName="textBox5d" refType="w" fact="0.2"/>
                    <dgm:constr type="h" for="ch" forName="textBox5d" refType="h" fact="0.67"/>
                    <dgm:constr type="userD" refType="h" refFor="ch" refForName="bullet5d" fact="0.53"/>
                    <dgm:constr type="l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l" for="ch" forName="textBox5e" refType="ctrX" refFor="ch" refForName="bullet5e"/>
                    <dgm:constr type="t" for="ch" forName="textBox5e" refType="ctrY" refFor="ch" refForName="bullet5e"/>
                    <dgm:constr type="w" for="ch" forName="textBox5e" refType="w" fact="0.2"/>
                    <dgm:constr type="h" for="ch" forName="textBox5e" refType="h" fact="0.736"/>
                    <dgm:constr type="userE" refType="h" refFor="ch" refForName="bullet5e" fact="0.53"/>
                    <dgm:constr type="lMarg" for="ch" forName="textBox5e" refType="userE" fact="2.834"/>
                    <dgm:constr type="primFontSz" for="ch" ptType="node" op="equ" val="65"/>
                  </dgm:constrLst>
                </dgm:if>
                <dgm:else name="Name138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r" for="ch" forName="textBox5a" refType="ctrX" refFor="ch" refForName="bullet5a"/>
                    <dgm:constr type="b" for="ch" forName="textBox5a" refType="ctrY" refFor="ch" refForName="bullet5a"/>
                    <dgm:constr type="w" for="ch" forName="textBox5a" refType="w" fact="0.11"/>
                    <dgm:constr type="h" for="ch" forName="textBox5a" refType="h" fact="0.762"/>
                    <dgm:constr type="userA" refType="h" refFor="ch" refForName="bullet5a" fact="0.53"/>
                    <dgm:constr type="r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r" for="ch" forName="textBox5b" refType="ctrX" refFor="ch" refForName="bullet5b"/>
                    <dgm:constr type="b" for="ch" forName="textBox5b" refType="ctrY" refFor="ch" refForName="bullet5b"/>
                    <dgm:constr type="w" for="ch" forName="textBox5b" refType="w" fact="0.131"/>
                    <dgm:constr type="h" for="ch" forName="textBox5b" refType="h" fact="0.581"/>
                    <dgm:constr type="userB" refType="h" refFor="ch" refForName="bullet5b" fact="0.53"/>
                    <dgm:constr type="r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r" for="ch" forName="textBox5c" refType="ctrX" refFor="ch" refForName="bullet5c"/>
                    <dgm:constr type="b" for="ch" forName="textBox5c" refType="ctrY" refFor="ch" refForName="bullet5c"/>
                    <dgm:constr type="w" for="ch" forName="textBox5c" refType="w" fact="0.166"/>
                    <dgm:constr type="h" for="ch" forName="textBox5c" refType="h" fact="0.438"/>
                    <dgm:constr type="userC" refType="h" refFor="ch" refForName="bullet5c" fact="0.53"/>
                    <dgm:constr type="r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r" for="ch" forName="textBox5d" refType="ctrX" refFor="ch" refForName="bullet5d"/>
                    <dgm:constr type="b" for="ch" forName="textBox5d" refType="ctrY" refFor="ch" refForName="bullet5d"/>
                    <dgm:constr type="w" for="ch" forName="textBox5d" refType="w" fact="0.193"/>
                    <dgm:constr type="h" for="ch" forName="textBox5d" refType="h" fact="0.33"/>
                    <dgm:constr type="userD" refType="h" refFor="ch" refForName="bullet5d" fact="0.53"/>
                    <dgm:constr type="r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r" for="ch" forName="textBox5e" refType="ctrX" refFor="ch" refForName="bullet5e"/>
                    <dgm:constr type="b" for="ch" forName="textBox5e" refType="ctrY" refFor="ch" refForName="bullet5e"/>
                    <dgm:constr type="w" for="ch" forName="textBox5e" refType="w" fact="0.2"/>
                    <dgm:constr type="h" for="ch" forName="textBox5e" refType="h" fact="0.264"/>
                    <dgm:constr type="userE" refType="h" refFor="ch" refForName="bullet5e" fact="0.53"/>
                    <dgm:constr type="rMarg" for="ch" forName="textBox5e" refType="userE" fact="2.834"/>
                    <dgm:constr type="primFontSz" for="ch" ptType="node" op="equ" val="65"/>
                  </dgm:constrLst>
                </dgm:else>
              </dgm:choose>
              <dgm:ruleLst/>
              <dgm:forEach name="Name139" axis="ch" ptType="node" cnt="1">
                <dgm:layoutNode name="bullet5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a" styleLbl="revTx">
                  <dgm:varLst>
                    <dgm:bulletEnabled val="1"/>
                  </dgm:varLst>
                  <dgm:choose name="Name140">
                    <dgm:if name="Name141" func="var" arg="dir" op="equ" val="norm">
                      <dgm:choose name="Name142">
                        <dgm:if name="Name14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4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45">
                      <dgm:choose name="Name146">
                        <dgm:if name="Name14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4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49">
                    <dgm:if name="Name15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5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52" axis="ch" ptType="node" st="2" cnt="1">
                <dgm:layoutNode name="bullet5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b" styleLbl="revTx">
                  <dgm:varLst>
                    <dgm:bulletEnabled val="1"/>
                  </dgm:varLst>
                  <dgm:choose name="Name153">
                    <dgm:if name="Name154" func="var" arg="dir" op="equ" val="norm">
                      <dgm:choose name="Name155">
                        <dgm:if name="Name15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58">
                      <dgm:choose name="Name159">
                        <dgm:if name="Name16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6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62">
                    <dgm:if name="Name16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6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65" axis="ch" ptType="node" st="3" cnt="1">
                <dgm:layoutNode name="bullet5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c" styleLbl="revTx">
                  <dgm:varLst>
                    <dgm:bulletEnabled val="1"/>
                  </dgm:varLst>
                  <dgm:choose name="Name166">
                    <dgm:if name="Name167" func="var" arg="dir" op="equ" val="norm">
                      <dgm:choose name="Name168">
                        <dgm:if name="Name169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70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71">
                      <dgm:choose name="Name172">
                        <dgm:if name="Name173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74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75">
                    <dgm:if name="Name176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77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78" axis="ch" ptType="node" st="4" cnt="1">
                <dgm:layoutNode name="bullet5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d" styleLbl="revTx">
                  <dgm:varLst>
                    <dgm:bulletEnabled val="1"/>
                  </dgm:varLst>
                  <dgm:choose name="Name179">
                    <dgm:if name="Name180" func="var" arg="dir" op="equ" val="norm">
                      <dgm:choose name="Name181">
                        <dgm:if name="Name182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83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84">
                      <dgm:choose name="Name185">
                        <dgm:if name="Name186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87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88">
                    <dgm:if name="Name189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90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91" axis="ch" ptType="node" st="5" cnt="1">
                <dgm:layoutNode name="bullet5e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e" styleLbl="revTx">
                  <dgm:varLst>
                    <dgm:bulletEnabled val="1"/>
                  </dgm:varLst>
                  <dgm:choose name="Name192">
                    <dgm:if name="Name193" func="var" arg="dir" op="equ" val="norm">
                      <dgm:choose name="Name194">
                        <dgm:if name="Name195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96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97">
                      <dgm:choose name="Name198">
                        <dgm:if name="Name199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200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1">
                    <dgm:if name="Name202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03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else>
        </dgm:choose>
      </dgm:if>
      <dgm:else name="Name204"/>
    </dgm:choos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arrow2">
  <dgm:title val=""/>
  <dgm:desc val=""/>
  <dgm:catLst>
    <dgm:cat type="process" pri="2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arrowDiagram">
    <dgm:varLst>
      <dgm:chMax val="5"/>
      <dgm:dir/>
      <dgm:resizeHandles val="exact"/>
    </dgm:varLst>
    <dgm:alg type="composite">
      <dgm:param type="ar" val="1.6"/>
    </dgm:alg>
    <dgm:shape xmlns:r="http://schemas.openxmlformats.org/officeDocument/2006/relationships" r:blip="">
      <dgm:adjLst/>
    </dgm:shape>
    <dgm:presOf/>
    <dgm:constrLst>
      <dgm:constr type="l" for="ch" forName="arrow"/>
      <dgm:constr type="t" for="ch" forName="arrow"/>
      <dgm:constr type="w" for="ch" forName="arrow" refType="w"/>
      <dgm:constr type="h" for="ch" forName="arrow" refType="h"/>
      <dgm:constr type="ctrX" for="ch" forName="arrowDiagram1" refType="w" fact="0.5"/>
      <dgm:constr type="ctrY" for="ch" forName="arrowDiagram1" refType="h" fact="0.5"/>
      <dgm:constr type="w" for="ch" forName="arrowDiagram1" refType="w"/>
      <dgm:constr type="h" for="ch" forName="arrowDiagram1" refType="h"/>
      <dgm:constr type="ctrX" for="ch" forName="arrowDiagram2" refType="w" fact="0.5"/>
      <dgm:constr type="ctrY" for="ch" forName="arrowDiagram2" refType="h" fact="0.5"/>
      <dgm:constr type="w" for="ch" forName="arrowDiagram2" refType="w"/>
      <dgm:constr type="h" for="ch" forName="arrowDiagram2" refType="h"/>
      <dgm:constr type="ctrX" for="ch" forName="arrowDiagram3" refType="w" fact="0.5"/>
      <dgm:constr type="ctrY" for="ch" forName="arrowDiagram3" refType="h" fact="0.5"/>
      <dgm:constr type="w" for="ch" forName="arrowDiagram3" refType="w"/>
      <dgm:constr type="h" for="ch" forName="arrowDiagram3" refType="h"/>
      <dgm:constr type="ctrX" for="ch" forName="arrowDiagram4" refType="w" fact="0.5"/>
      <dgm:constr type="ctrY" for="ch" forName="arrowDiagram4" refType="h" fact="0.5"/>
      <dgm:constr type="w" for="ch" forName="arrowDiagram4" refType="w"/>
      <dgm:constr type="h" for="ch" forName="arrowDiagram4" refType="h"/>
      <dgm:constr type="ctrX" for="ch" forName="arrowDiagram5" refType="w" fact="0.5"/>
      <dgm:constr type="ctrY" for="ch" forName="arrowDiagram5" refType="h" fact="0.5"/>
      <dgm:constr type="w" for="ch" forName="arrowDiagram5" refType="w"/>
      <dgm:constr type="h" for="ch" forName="arrowDiagram5" refType="h"/>
    </dgm:constrLst>
    <dgm:ruleLst/>
    <dgm:choose name="Name0">
      <dgm:if name="Name1" axis="ch" ptType="node" func="cnt" op="gte" val="1">
        <dgm:layoutNode name="arrow" styleLbl="bgShp">
          <dgm:alg type="sp"/>
          <dgm:shape xmlns:r="http://schemas.openxmlformats.org/officeDocument/2006/relationships" type="swooshArrow" r:blip="">
            <dgm:adjLst>
              <dgm:adj idx="2" val="0.25"/>
            </dgm:adjLst>
          </dgm:shape>
          <dgm:presOf/>
          <dgm:constrLst/>
          <dgm:ruleLst/>
        </dgm:layoutNode>
        <dgm:choose name="Name2">
          <dgm:if name="Name3" axis="ch" ptType="node" func="cnt" op="lt" val="1"/>
          <dgm:if name="Name4" axis="ch" ptType="node" func="cnt" op="equ" val="1">
            <dgm:layoutNode name="arrowDiagram1">
              <dgm:varLst>
                <dgm:bulletEnabled val="1"/>
              </dgm:varLst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ctrX" for="ch" forName="bullet1" refType="w" fact="0.8"/>
                <dgm:constr type="ctrY" for="ch" forName="bullet1" refType="h" fact="0.262"/>
                <dgm:constr type="w" for="ch" forName="bullet1" refType="w" fact="0.074"/>
                <dgm:constr type="h" for="ch" forName="bullet1" refType="w" refFor="ch" refForName="bullet1"/>
                <dgm:constr type="r" for="ch" forName="textBox1" refType="ctrX" refFor="ch" refForName="bullet1"/>
                <dgm:constr type="t" for="ch" forName="textBox1" refType="ctrY" refFor="ch" refForName="bullet1"/>
                <dgm:constr type="w" for="ch" forName="textBox1" refType="w" fact="0.4"/>
                <dgm:constr type="h" for="ch" forName="textBox1" refType="h" fact="0.738"/>
                <dgm:constr type="userA" refType="h" refFor="ch" refForName="bullet1" fact="0.53"/>
                <dgm:constr type="rMarg" for="ch" forName="textBox1" refType="userA" fact="2.834"/>
                <dgm:constr type="primFontSz" for="ch" ptType="node" op="equ" val="65"/>
              </dgm:constrLst>
              <dgm:ruleLst/>
              <dgm:forEach name="Name5" axis="ch" ptType="node" cnt="1">
                <dgm:layoutNode name="bullet1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1" styleLbl="revTx">
                  <dgm:varLst>
                    <dgm:bulletEnabled val="1"/>
                  </dgm:varLst>
                  <dgm:alg type="tx">
                    <dgm:param type="txAnchorVert" val="t"/>
                    <dgm:param type="parTxLTRAlign" val="r"/>
                    <dgm:param type="parTxRTLAlign" val="r"/>
                  </dgm:alg>
                  <dgm:shape xmlns:r="http://schemas.openxmlformats.org/officeDocument/2006/relationships" type="round2DiagRect" r:blip="">
                    <dgm:adjLst/>
                  </dgm:shape>
                  <dgm:presOf axis="desOrSelf" ptType="node"/>
                  <dgm:constrLst>
                    <dgm:constr type="lMarg"/>
                    <dgm:constr type="tMarg"/>
                    <dgm:constr type="bMarg"/>
                  </dgm:constrLst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6" axis="ch" ptType="node" func="cnt" op="equ" val="2">
            <dgm:layoutNode name="arrowDiagram2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7">
                <dgm:if name="Name8" func="var" arg="dir" op="equ" val="norm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l" for="ch" forName="textBox2a" refType="ctrX" refFor="ch" refForName="bullet2a"/>
                    <dgm:constr type="t" for="ch" forName="textBox2a" refType="ctrY" refFor="ch" refForName="bullet2a"/>
                    <dgm:constr type="w" for="ch" forName="textBox2a" refType="w" fact="0.325"/>
                    <dgm:constr type="h" for="ch" forName="textBox2a" refType="h" fact="0.427"/>
                    <dgm:constr type="userA" refType="h" refFor="ch" refForName="bullet2a" fact="0.53"/>
                    <dgm:constr type="l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l" for="ch" forName="textBox2b" refType="ctrX" refFor="ch" refForName="bullet2b"/>
                    <dgm:constr type="t" for="ch" forName="textBox2b" refType="ctrY" refFor="ch" refForName="bullet2b"/>
                    <dgm:constr type="w" for="ch" forName="textBox2b" refType="w" fact="0.325"/>
                    <dgm:constr type="h" for="ch" forName="textBox2b" refType="h" fact="0.662"/>
                    <dgm:constr type="userB" refType="h" refFor="ch" refForName="bullet2b" fact="0.53"/>
                    <dgm:constr type="lMarg" for="ch" forName="textBox2b" refType="userB" fact="2.834"/>
                    <dgm:constr type="primFontSz" for="ch" ptType="node" op="equ" val="65"/>
                  </dgm:constrLst>
                </dgm:if>
                <dgm:else name="Name9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r" for="ch" forName="textBox2a" refType="ctrX" refFor="ch" refForName="bullet2a"/>
                    <dgm:constr type="b" for="ch" forName="textBox2a" refType="ctrY" refFor="ch" refForName="bullet2a"/>
                    <dgm:constr type="w" for="ch" forName="textBox2a" refType="w" fact="0.25"/>
                    <dgm:constr type="h" for="ch" forName="textBox2a" refType="h" fact="0.573"/>
                    <dgm:constr type="userA" refType="h" refFor="ch" refForName="bullet2a" fact="0.53"/>
                    <dgm:constr type="r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r" for="ch" forName="textBox2b" refType="ctrX" refFor="ch" refForName="bullet2b"/>
                    <dgm:constr type="b" for="ch" forName="textBox2b" refType="ctrY" refFor="ch" refForName="bullet2b"/>
                    <dgm:constr type="w" for="ch" forName="textBox2b" refType="w" fact="0.28"/>
                    <dgm:constr type="h" for="ch" forName="textBox2b" refType="h" fact="0.338"/>
                    <dgm:constr type="userB" refType="h" refFor="ch" refForName="bullet2b" fact="0.53"/>
                    <dgm:constr type="rMarg" for="ch" forName="textBox2b" refType="userB" fact="2.834"/>
                    <dgm:constr type="primFontSz" for="ch" ptType="node" op="equ" val="65"/>
                  </dgm:constrLst>
                </dgm:else>
              </dgm:choose>
              <dgm:ruleLst/>
              <dgm:forEach name="Name10" axis="ch" ptType="node" cnt="1">
                <dgm:layoutNode name="bullet2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a" styleLbl="revTx">
                  <dgm:varLst>
                    <dgm:bulletEnabled val="1"/>
                  </dgm:varLst>
                  <dgm:choose name="Name11">
                    <dgm:if name="Name12" func="var" arg="dir" op="equ" val="norm">
                      <dgm:choose name="Name13">
                        <dgm:if name="Name1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6">
                      <dgm:choose name="Name17">
                        <dgm:if name="Name1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">
                    <dgm:if name="Name2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23" axis="ch" ptType="node" st="2" cnt="1">
                <dgm:layoutNode name="bullet2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b" styleLbl="revTx">
                  <dgm:varLst>
                    <dgm:bulletEnabled val="1"/>
                  </dgm:varLst>
                  <dgm:choose name="Name24">
                    <dgm:if name="Name25" func="var" arg="dir" op="equ" val="norm">
                      <dgm:choose name="Name26">
                        <dgm:if name="Name2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2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29">
                      <dgm:choose name="Name30">
                        <dgm:if name="Name3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3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33">
                    <dgm:if name="Name3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3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36" axis="ch" ptType="node" func="cnt" op="equ" val="3">
            <dgm:layoutNode name="arrowDiagram3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37">
                <dgm:if name="Name38" func="var" arg="dir" op="equ" val="norm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l" for="ch" forName="textBox3a" refType="ctrX" refFor="ch" refForName="bullet3a"/>
                    <dgm:constr type="t" for="ch" forName="textBox3a" refType="ctrY" refFor="ch" refForName="bullet3a"/>
                    <dgm:constr type="w" for="ch" forName="textBox3a" refType="w" fact="0.233"/>
                    <dgm:constr type="h" for="ch" forName="textBox3a" refType="h" fact="0.289"/>
                    <dgm:constr type="userA" refType="h" refFor="ch" refForName="bullet3a" fact="0.53"/>
                    <dgm:constr type="l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l" for="ch" forName="textBox3b" refType="ctrX" refFor="ch" refForName="bullet3b"/>
                    <dgm:constr type="t" for="ch" forName="textBox3b" refType="ctrY" refFor="ch" refForName="bullet3b"/>
                    <dgm:constr type="w" for="ch" forName="textBox3b" refType="w" fact="0.24"/>
                    <dgm:constr type="h" for="ch" forName="textBox3b" refType="h" fact="0.544"/>
                    <dgm:constr type="userB" refType="h" refFor="ch" refForName="bullet3b" fact="0.53"/>
                    <dgm:constr type="l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l" for="ch" forName="textBox3c" refType="ctrX" refFor="ch" refForName="bullet3c"/>
                    <dgm:constr type="t" for="ch" forName="textBox3c" refType="ctrY" refFor="ch" refForName="bullet3c"/>
                    <dgm:constr type="w" for="ch" forName="textBox3c" refType="w" fact="0.24"/>
                    <dgm:constr type="h" for="ch" forName="textBox3c" refType="h" fact="0.695"/>
                    <dgm:constr type="userC" refType="h" refFor="ch" refForName="bullet3c" fact="0.53"/>
                    <dgm:constr type="lMarg" for="ch" forName="textBox3c" refType="userC" fact="2.834"/>
                    <dgm:constr type="primFontSz" for="ch" ptType="node" op="equ" val="65"/>
                  </dgm:constrLst>
                </dgm:if>
                <dgm:else name="Name39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r" for="ch" forName="textBox3a" refType="ctrX" refFor="ch" refForName="bullet3a"/>
                    <dgm:constr type="b" for="ch" forName="textBox3a" refType="ctrY" refFor="ch" refForName="bullet3a"/>
                    <dgm:constr type="w" for="ch" forName="textBox3a" refType="w" fact="0.14"/>
                    <dgm:constr type="h" for="ch" forName="textBox3a" refType="h" fact="0.711"/>
                    <dgm:constr type="userA" refType="h" refFor="ch" refForName="bullet3a" fact="0.53"/>
                    <dgm:constr type="r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r" for="ch" forName="textBox3b" refType="ctrX" refFor="ch" refForName="bullet3b"/>
                    <dgm:constr type="b" for="ch" forName="textBox3b" refType="ctrY" refFor="ch" refForName="bullet3b"/>
                    <dgm:constr type="w" for="ch" forName="textBox3b" refType="w" fact="0.24"/>
                    <dgm:constr type="h" for="ch" forName="textBox3b" refType="h" fact="0.456"/>
                    <dgm:constr type="userB" refType="h" refFor="ch" refForName="bullet3b" fact="0.53"/>
                    <dgm:constr type="r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r" for="ch" forName="textBox3c" refType="ctrX" refFor="ch" refForName="bullet3c"/>
                    <dgm:constr type="b" for="ch" forName="textBox3c" refType="ctrY" refFor="ch" refForName="bullet3c"/>
                    <dgm:constr type="w" for="ch" forName="textBox3c" refType="w" fact="0.24"/>
                    <dgm:constr type="h" for="ch" forName="textBox3c" refType="h" fact="0.305"/>
                    <dgm:constr type="userC" refType="h" refFor="ch" refForName="bullet3c" fact="0.53"/>
                    <dgm:constr type="rMarg" for="ch" forName="textBox3c" refType="userC" fact="2.834"/>
                    <dgm:constr type="primFontSz" for="ch" ptType="node" op="equ" val="65"/>
                  </dgm:constrLst>
                </dgm:else>
              </dgm:choose>
              <dgm:ruleLst/>
              <dgm:forEach name="Name40" axis="ch" ptType="node" cnt="1">
                <dgm:layoutNode name="bullet3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a" styleLbl="revTx">
                  <dgm:varLst>
                    <dgm:bulletEnabled val="1"/>
                  </dgm:varLst>
                  <dgm:choose name="Name41">
                    <dgm:if name="Name42" func="var" arg="dir" op="equ" val="norm">
                      <dgm:choose name="Name43">
                        <dgm:if name="Name4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4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46">
                      <dgm:choose name="Name47">
                        <dgm:if name="Name4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4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50">
                    <dgm:if name="Name5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5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53" axis="ch" ptType="node" st="2" cnt="1">
                <dgm:layoutNode name="bullet3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b" styleLbl="revTx">
                  <dgm:varLst>
                    <dgm:bulletEnabled val="1"/>
                  </dgm:varLst>
                  <dgm:choose name="Name54">
                    <dgm:if name="Name55" func="var" arg="dir" op="equ" val="norm">
                      <dgm:choose name="Name56">
                        <dgm:if name="Name5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5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59">
                      <dgm:choose name="Name60">
                        <dgm:if name="Name6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6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63">
                    <dgm:if name="Name6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6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66" axis="ch" ptType="node" st="3" cnt="1">
                <dgm:layoutNode name="bullet3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c" styleLbl="revTx">
                  <dgm:varLst>
                    <dgm:bulletEnabled val="1"/>
                  </dgm:varLst>
                  <dgm:choose name="Name67">
                    <dgm:if name="Name68" func="var" arg="dir" op="equ" val="norm">
                      <dgm:choose name="Name69">
                        <dgm:if name="Name7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7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72">
                      <dgm:choose name="Name73">
                        <dgm:if name="Name7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7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76">
                    <dgm:if name="Name7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7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79" axis="ch" ptType="node" func="cnt" op="equ" val="4">
            <dgm:layoutNode name="arrowDiagram4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80">
                <dgm:if name="Name81" func="var" arg="dir" op="equ" val="norm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l" for="ch" forName="textBox4a" refType="ctrX" refFor="ch" refForName="bullet4a"/>
                    <dgm:constr type="t" for="ch" forName="textBox4a" refType="ctrY" refFor="ch" refForName="bullet4a"/>
                    <dgm:constr type="w" for="ch" forName="textBox4a" refType="w" fact="0.171"/>
                    <dgm:constr type="h" for="ch" forName="textBox4a" refType="h" fact="0.238"/>
                    <dgm:constr type="userA" refType="h" refFor="ch" refForName="bullet4a" fact="0.53"/>
                    <dgm:constr type="l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l" for="ch" forName="textBox4b" refType="ctrX" refFor="ch" refForName="bullet4b"/>
                    <dgm:constr type="t" for="ch" forName="textBox4b" refType="ctrY" refFor="ch" refForName="bullet4b"/>
                    <dgm:constr type="w" for="ch" forName="textBox4b" refType="w" fact="0.21"/>
                    <dgm:constr type="h" for="ch" forName="textBox4b" refType="h" fact="0.457"/>
                    <dgm:constr type="userB" refType="h" refFor="ch" refForName="bullet4b" fact="0.53"/>
                    <dgm:constr type="l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l" for="ch" forName="textBox4c" refType="ctrX" refFor="ch" refForName="bullet4c"/>
                    <dgm:constr type="t" for="ch" forName="textBox4c" refType="ctrY" refFor="ch" refForName="bullet4c"/>
                    <dgm:constr type="w" for="ch" forName="textBox4c" refType="w" fact="0.21"/>
                    <dgm:constr type="h" for="ch" forName="textBox4c" refType="h" fact="0.618"/>
                    <dgm:constr type="userC" refType="h" refFor="ch" refForName="bullet4c" fact="0.53"/>
                    <dgm:constr type="l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l" for="ch" forName="textBox4d" refType="ctrX" refFor="ch" refForName="bullet4d"/>
                    <dgm:constr type="t" for="ch" forName="textBox4d" refType="ctrY" refFor="ch" refForName="bullet4d"/>
                    <dgm:constr type="w" for="ch" forName="textBox4d" refType="w" fact="0.21"/>
                    <dgm:constr type="h" for="ch" forName="textBox4d" refType="h" fact="0.717"/>
                    <dgm:constr type="userD" refType="h" refFor="ch" refForName="bullet4d" fact="0.53"/>
                    <dgm:constr type="lMarg" for="ch" forName="textBox4d" refType="userD" fact="2.834"/>
                    <dgm:constr type="primFontSz" for="ch" ptType="node" op="equ" val="65"/>
                  </dgm:constrLst>
                </dgm:if>
                <dgm:else name="Name82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r" for="ch" forName="textBox4a" refType="ctrX" refFor="ch" refForName="bullet4a"/>
                    <dgm:constr type="b" for="ch" forName="textBox4a" refType="ctrY" refFor="ch" refForName="bullet4a"/>
                    <dgm:constr type="w" for="ch" forName="textBox4a" refType="w" fact="0.11"/>
                    <dgm:constr type="h" for="ch" forName="textBox4a" refType="h" fact="0.762"/>
                    <dgm:constr type="userA" refType="h" refFor="ch" refForName="bullet4a" fact="0.53"/>
                    <dgm:constr type="r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r" for="ch" forName="textBox4b" refType="ctrX" refFor="ch" refForName="bullet4b"/>
                    <dgm:constr type="b" for="ch" forName="textBox4b" refType="ctrY" refFor="ch" refForName="bullet4b"/>
                    <dgm:constr type="w" for="ch" forName="textBox4b" refType="w" fact="0.171"/>
                    <dgm:constr type="h" for="ch" forName="textBox4b" refType="h" fact="0.543"/>
                    <dgm:constr type="userB" refType="h" refFor="ch" refForName="bullet4b" fact="0.53"/>
                    <dgm:constr type="r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r" for="ch" forName="textBox4c" refType="ctrX" refFor="ch" refForName="bullet4c"/>
                    <dgm:constr type="b" for="ch" forName="textBox4c" refType="ctrY" refFor="ch" refForName="bullet4c"/>
                    <dgm:constr type="w" for="ch" forName="textBox4c" refType="w" fact="0.21"/>
                    <dgm:constr type="h" for="ch" forName="textBox4c" refType="h" fact="0.382"/>
                    <dgm:constr type="userC" refType="h" refFor="ch" refForName="bullet4c" fact="0.53"/>
                    <dgm:constr type="r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r" for="ch" forName="textBox4d" refType="ctrX" refFor="ch" refForName="bullet4d"/>
                    <dgm:constr type="b" for="ch" forName="textBox4d" refType="ctrY" refFor="ch" refForName="bullet4d"/>
                    <dgm:constr type="w" for="ch" forName="textBox4d" refType="w" fact="0.21"/>
                    <dgm:constr type="h" for="ch" forName="textBox4d" refType="h" fact="0.283"/>
                    <dgm:constr type="userD" refType="h" refFor="ch" refForName="bullet4d" fact="0.53"/>
                    <dgm:constr type="rMarg" for="ch" forName="textBox4d" refType="userD" fact="2.834"/>
                    <dgm:constr type="primFontSz" for="ch" ptType="node" op="equ" val="65"/>
                  </dgm:constrLst>
                </dgm:else>
              </dgm:choose>
              <dgm:ruleLst/>
              <dgm:forEach name="Name83" axis="ch" ptType="node" cnt="1">
                <dgm:layoutNode name="bullet4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a" styleLbl="revTx">
                  <dgm:varLst>
                    <dgm:bulletEnabled val="1"/>
                  </dgm:varLst>
                  <dgm:choose name="Name84">
                    <dgm:if name="Name85" func="var" arg="dir" op="equ" val="norm">
                      <dgm:choose name="Name86">
                        <dgm:if name="Name8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8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89">
                      <dgm:choose name="Name90">
                        <dgm:if name="Name9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9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93">
                    <dgm:if name="Name9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9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96" axis="ch" ptType="node" st="2" cnt="1">
                <dgm:layoutNode name="bullet4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b" styleLbl="revTx">
                  <dgm:varLst>
                    <dgm:bulletEnabled val="1"/>
                  </dgm:varLst>
                  <dgm:choose name="Name97">
                    <dgm:if name="Name98" func="var" arg="dir" op="equ" val="norm">
                      <dgm:choose name="Name99">
                        <dgm:if name="Name10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0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0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06">
                    <dgm:if name="Name10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0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09" axis="ch" ptType="node" st="3" cnt="1">
                <dgm:layoutNode name="bullet4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c" styleLbl="revTx">
                  <dgm:varLst>
                    <dgm:bulletEnabled val="1"/>
                  </dgm:varLst>
                  <dgm:choose name="Name110">
                    <dgm:if name="Name111" func="var" arg="dir" op="equ" val="norm">
                      <dgm:choose name="Name112">
                        <dgm:if name="Name11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1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15">
                      <dgm:choose name="Name116">
                        <dgm:if name="Name11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1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19">
                    <dgm:if name="Name12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2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22" axis="ch" ptType="node" st="4" cnt="1">
                <dgm:layoutNode name="bullet4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d" styleLbl="revTx">
                  <dgm:varLst>
                    <dgm:bulletEnabled val="1"/>
                  </dgm:varLst>
                  <dgm:choose name="Name123">
                    <dgm:if name="Name124" func="var" arg="dir" op="equ" val="norm">
                      <dgm:choose name="Name125">
                        <dgm:if name="Name12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2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28">
                      <dgm:choose name="Name129">
                        <dgm:if name="Name13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3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32">
                    <dgm:if name="Name13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3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else name="Name135">
            <dgm:layoutNode name="arrowDiagram5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136">
                <dgm:if name="Name137" func="var" arg="dir" op="equ" val="norm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l" for="ch" forName="textBox5a" refType="ctrX" refFor="ch" refForName="bullet5a"/>
                    <dgm:constr type="t" for="ch" forName="textBox5a" refType="ctrY" refFor="ch" refForName="bullet5a"/>
                    <dgm:constr type="w" for="ch" forName="textBox5a" refType="w" fact="0.131"/>
                    <dgm:constr type="h" for="ch" forName="textBox5a" refType="h" fact="0.238"/>
                    <dgm:constr type="userA" refType="h" refFor="ch" refForName="bullet5a" fact="0.53"/>
                    <dgm:constr type="l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l" for="ch" forName="textBox5b" refType="ctrX" refFor="ch" refForName="bullet5b"/>
                    <dgm:constr type="t" for="ch" forName="textBox5b" refType="ctrY" refFor="ch" refForName="bullet5b"/>
                    <dgm:constr type="w" for="ch" forName="textBox5b" refType="w" fact="0.166"/>
                    <dgm:constr type="h" for="ch" forName="textBox5b" refType="h" fact="0.419"/>
                    <dgm:constr type="userB" refType="h" refFor="ch" refForName="bullet5b" fact="0.53"/>
                    <dgm:constr type="l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l" for="ch" forName="textBox5c" refType="ctrX" refFor="ch" refForName="bullet5c"/>
                    <dgm:constr type="t" for="ch" forName="textBox5c" refType="ctrY" refFor="ch" refForName="bullet5c"/>
                    <dgm:constr type="w" for="ch" forName="textBox5c" refType="w" fact="0.193"/>
                    <dgm:constr type="h" for="ch" forName="textBox5c" refType="h" fact="0.562"/>
                    <dgm:constr type="userC" refType="h" refFor="ch" refForName="bullet5c" fact="0.53"/>
                    <dgm:constr type="l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l" for="ch" forName="textBox5d" refType="ctrX" refFor="ch" refForName="bullet5d"/>
                    <dgm:constr type="t" for="ch" forName="textBox5d" refType="ctrY" refFor="ch" refForName="bullet5d"/>
                    <dgm:constr type="w" for="ch" forName="textBox5d" refType="w" fact="0.2"/>
                    <dgm:constr type="h" for="ch" forName="textBox5d" refType="h" fact="0.67"/>
                    <dgm:constr type="userD" refType="h" refFor="ch" refForName="bullet5d" fact="0.53"/>
                    <dgm:constr type="l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l" for="ch" forName="textBox5e" refType="ctrX" refFor="ch" refForName="bullet5e"/>
                    <dgm:constr type="t" for="ch" forName="textBox5e" refType="ctrY" refFor="ch" refForName="bullet5e"/>
                    <dgm:constr type="w" for="ch" forName="textBox5e" refType="w" fact="0.2"/>
                    <dgm:constr type="h" for="ch" forName="textBox5e" refType="h" fact="0.736"/>
                    <dgm:constr type="userE" refType="h" refFor="ch" refForName="bullet5e" fact="0.53"/>
                    <dgm:constr type="lMarg" for="ch" forName="textBox5e" refType="userE" fact="2.834"/>
                    <dgm:constr type="primFontSz" for="ch" ptType="node" op="equ" val="65"/>
                  </dgm:constrLst>
                </dgm:if>
                <dgm:else name="Name138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r" for="ch" forName="textBox5a" refType="ctrX" refFor="ch" refForName="bullet5a"/>
                    <dgm:constr type="b" for="ch" forName="textBox5a" refType="ctrY" refFor="ch" refForName="bullet5a"/>
                    <dgm:constr type="w" for="ch" forName="textBox5a" refType="w" fact="0.11"/>
                    <dgm:constr type="h" for="ch" forName="textBox5a" refType="h" fact="0.762"/>
                    <dgm:constr type="userA" refType="h" refFor="ch" refForName="bullet5a" fact="0.53"/>
                    <dgm:constr type="r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r" for="ch" forName="textBox5b" refType="ctrX" refFor="ch" refForName="bullet5b"/>
                    <dgm:constr type="b" for="ch" forName="textBox5b" refType="ctrY" refFor="ch" refForName="bullet5b"/>
                    <dgm:constr type="w" for="ch" forName="textBox5b" refType="w" fact="0.131"/>
                    <dgm:constr type="h" for="ch" forName="textBox5b" refType="h" fact="0.581"/>
                    <dgm:constr type="userB" refType="h" refFor="ch" refForName="bullet5b" fact="0.53"/>
                    <dgm:constr type="r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r" for="ch" forName="textBox5c" refType="ctrX" refFor="ch" refForName="bullet5c"/>
                    <dgm:constr type="b" for="ch" forName="textBox5c" refType="ctrY" refFor="ch" refForName="bullet5c"/>
                    <dgm:constr type="w" for="ch" forName="textBox5c" refType="w" fact="0.166"/>
                    <dgm:constr type="h" for="ch" forName="textBox5c" refType="h" fact="0.438"/>
                    <dgm:constr type="userC" refType="h" refFor="ch" refForName="bullet5c" fact="0.53"/>
                    <dgm:constr type="r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r" for="ch" forName="textBox5d" refType="ctrX" refFor="ch" refForName="bullet5d"/>
                    <dgm:constr type="b" for="ch" forName="textBox5d" refType="ctrY" refFor="ch" refForName="bullet5d"/>
                    <dgm:constr type="w" for="ch" forName="textBox5d" refType="w" fact="0.193"/>
                    <dgm:constr type="h" for="ch" forName="textBox5d" refType="h" fact="0.33"/>
                    <dgm:constr type="userD" refType="h" refFor="ch" refForName="bullet5d" fact="0.53"/>
                    <dgm:constr type="r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r" for="ch" forName="textBox5e" refType="ctrX" refFor="ch" refForName="bullet5e"/>
                    <dgm:constr type="b" for="ch" forName="textBox5e" refType="ctrY" refFor="ch" refForName="bullet5e"/>
                    <dgm:constr type="w" for="ch" forName="textBox5e" refType="w" fact="0.2"/>
                    <dgm:constr type="h" for="ch" forName="textBox5e" refType="h" fact="0.264"/>
                    <dgm:constr type="userE" refType="h" refFor="ch" refForName="bullet5e" fact="0.53"/>
                    <dgm:constr type="rMarg" for="ch" forName="textBox5e" refType="userE" fact="2.834"/>
                    <dgm:constr type="primFontSz" for="ch" ptType="node" op="equ" val="65"/>
                  </dgm:constrLst>
                </dgm:else>
              </dgm:choose>
              <dgm:ruleLst/>
              <dgm:forEach name="Name139" axis="ch" ptType="node" cnt="1">
                <dgm:layoutNode name="bullet5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a" styleLbl="revTx">
                  <dgm:varLst>
                    <dgm:bulletEnabled val="1"/>
                  </dgm:varLst>
                  <dgm:choose name="Name140">
                    <dgm:if name="Name141" func="var" arg="dir" op="equ" val="norm">
                      <dgm:choose name="Name142">
                        <dgm:if name="Name14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4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45">
                      <dgm:choose name="Name146">
                        <dgm:if name="Name14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4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49">
                    <dgm:if name="Name15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5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52" axis="ch" ptType="node" st="2" cnt="1">
                <dgm:layoutNode name="bullet5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b" styleLbl="revTx">
                  <dgm:varLst>
                    <dgm:bulletEnabled val="1"/>
                  </dgm:varLst>
                  <dgm:choose name="Name153">
                    <dgm:if name="Name154" func="var" arg="dir" op="equ" val="norm">
                      <dgm:choose name="Name155">
                        <dgm:if name="Name15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58">
                      <dgm:choose name="Name159">
                        <dgm:if name="Name16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6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62">
                    <dgm:if name="Name16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6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65" axis="ch" ptType="node" st="3" cnt="1">
                <dgm:layoutNode name="bullet5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c" styleLbl="revTx">
                  <dgm:varLst>
                    <dgm:bulletEnabled val="1"/>
                  </dgm:varLst>
                  <dgm:choose name="Name166">
                    <dgm:if name="Name167" func="var" arg="dir" op="equ" val="norm">
                      <dgm:choose name="Name168">
                        <dgm:if name="Name169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70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71">
                      <dgm:choose name="Name172">
                        <dgm:if name="Name173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74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75">
                    <dgm:if name="Name176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77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78" axis="ch" ptType="node" st="4" cnt="1">
                <dgm:layoutNode name="bullet5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d" styleLbl="revTx">
                  <dgm:varLst>
                    <dgm:bulletEnabled val="1"/>
                  </dgm:varLst>
                  <dgm:choose name="Name179">
                    <dgm:if name="Name180" func="var" arg="dir" op="equ" val="norm">
                      <dgm:choose name="Name181">
                        <dgm:if name="Name182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83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84">
                      <dgm:choose name="Name185">
                        <dgm:if name="Name186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87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88">
                    <dgm:if name="Name189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90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91" axis="ch" ptType="node" st="5" cnt="1">
                <dgm:layoutNode name="bullet5e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e" styleLbl="revTx">
                  <dgm:varLst>
                    <dgm:bulletEnabled val="1"/>
                  </dgm:varLst>
                  <dgm:choose name="Name192">
                    <dgm:if name="Name193" func="var" arg="dir" op="equ" val="norm">
                      <dgm:choose name="Name194">
                        <dgm:if name="Name195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96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97">
                      <dgm:choose name="Name198">
                        <dgm:if name="Name199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200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1">
                    <dgm:if name="Name202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03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else>
        </dgm:choose>
      </dgm:if>
      <dgm:else name="Name204"/>
    </dgm:choos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arrow2">
  <dgm:title val=""/>
  <dgm:desc val=""/>
  <dgm:catLst>
    <dgm:cat type="process" pri="2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arrowDiagram">
    <dgm:varLst>
      <dgm:chMax val="5"/>
      <dgm:dir/>
      <dgm:resizeHandles val="exact"/>
    </dgm:varLst>
    <dgm:alg type="composite">
      <dgm:param type="ar" val="1.6"/>
    </dgm:alg>
    <dgm:shape xmlns:r="http://schemas.openxmlformats.org/officeDocument/2006/relationships" r:blip="">
      <dgm:adjLst/>
    </dgm:shape>
    <dgm:presOf/>
    <dgm:constrLst>
      <dgm:constr type="l" for="ch" forName="arrow"/>
      <dgm:constr type="t" for="ch" forName="arrow"/>
      <dgm:constr type="w" for="ch" forName="arrow" refType="w"/>
      <dgm:constr type="h" for="ch" forName="arrow" refType="h"/>
      <dgm:constr type="ctrX" for="ch" forName="arrowDiagram1" refType="w" fact="0.5"/>
      <dgm:constr type="ctrY" for="ch" forName="arrowDiagram1" refType="h" fact="0.5"/>
      <dgm:constr type="w" for="ch" forName="arrowDiagram1" refType="w"/>
      <dgm:constr type="h" for="ch" forName="arrowDiagram1" refType="h"/>
      <dgm:constr type="ctrX" for="ch" forName="arrowDiagram2" refType="w" fact="0.5"/>
      <dgm:constr type="ctrY" for="ch" forName="arrowDiagram2" refType="h" fact="0.5"/>
      <dgm:constr type="w" for="ch" forName="arrowDiagram2" refType="w"/>
      <dgm:constr type="h" for="ch" forName="arrowDiagram2" refType="h"/>
      <dgm:constr type="ctrX" for="ch" forName="arrowDiagram3" refType="w" fact="0.5"/>
      <dgm:constr type="ctrY" for="ch" forName="arrowDiagram3" refType="h" fact="0.5"/>
      <dgm:constr type="w" for="ch" forName="arrowDiagram3" refType="w"/>
      <dgm:constr type="h" for="ch" forName="arrowDiagram3" refType="h"/>
      <dgm:constr type="ctrX" for="ch" forName="arrowDiagram4" refType="w" fact="0.5"/>
      <dgm:constr type="ctrY" for="ch" forName="arrowDiagram4" refType="h" fact="0.5"/>
      <dgm:constr type="w" for="ch" forName="arrowDiagram4" refType="w"/>
      <dgm:constr type="h" for="ch" forName="arrowDiagram4" refType="h"/>
      <dgm:constr type="ctrX" for="ch" forName="arrowDiagram5" refType="w" fact="0.5"/>
      <dgm:constr type="ctrY" for="ch" forName="arrowDiagram5" refType="h" fact="0.5"/>
      <dgm:constr type="w" for="ch" forName="arrowDiagram5" refType="w"/>
      <dgm:constr type="h" for="ch" forName="arrowDiagram5" refType="h"/>
    </dgm:constrLst>
    <dgm:ruleLst/>
    <dgm:choose name="Name0">
      <dgm:if name="Name1" axis="ch" ptType="node" func="cnt" op="gte" val="1">
        <dgm:layoutNode name="arrow" styleLbl="bgShp">
          <dgm:alg type="sp"/>
          <dgm:shape xmlns:r="http://schemas.openxmlformats.org/officeDocument/2006/relationships" type="swooshArrow" r:blip="">
            <dgm:adjLst>
              <dgm:adj idx="2" val="0.25"/>
            </dgm:adjLst>
          </dgm:shape>
          <dgm:presOf/>
          <dgm:constrLst/>
          <dgm:ruleLst/>
        </dgm:layoutNode>
        <dgm:choose name="Name2">
          <dgm:if name="Name3" axis="ch" ptType="node" func="cnt" op="lt" val="1"/>
          <dgm:if name="Name4" axis="ch" ptType="node" func="cnt" op="equ" val="1">
            <dgm:layoutNode name="arrowDiagram1">
              <dgm:varLst>
                <dgm:bulletEnabled val="1"/>
              </dgm:varLst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ctrX" for="ch" forName="bullet1" refType="w" fact="0.8"/>
                <dgm:constr type="ctrY" for="ch" forName="bullet1" refType="h" fact="0.262"/>
                <dgm:constr type="w" for="ch" forName="bullet1" refType="w" fact="0.074"/>
                <dgm:constr type="h" for="ch" forName="bullet1" refType="w" refFor="ch" refForName="bullet1"/>
                <dgm:constr type="r" for="ch" forName="textBox1" refType="ctrX" refFor="ch" refForName="bullet1"/>
                <dgm:constr type="t" for="ch" forName="textBox1" refType="ctrY" refFor="ch" refForName="bullet1"/>
                <dgm:constr type="w" for="ch" forName="textBox1" refType="w" fact="0.4"/>
                <dgm:constr type="h" for="ch" forName="textBox1" refType="h" fact="0.738"/>
                <dgm:constr type="userA" refType="h" refFor="ch" refForName="bullet1" fact="0.53"/>
                <dgm:constr type="rMarg" for="ch" forName="textBox1" refType="userA" fact="2.834"/>
                <dgm:constr type="primFontSz" for="ch" ptType="node" op="equ" val="65"/>
              </dgm:constrLst>
              <dgm:ruleLst/>
              <dgm:forEach name="Name5" axis="ch" ptType="node" cnt="1">
                <dgm:layoutNode name="bullet1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1" styleLbl="revTx">
                  <dgm:varLst>
                    <dgm:bulletEnabled val="1"/>
                  </dgm:varLst>
                  <dgm:alg type="tx">
                    <dgm:param type="txAnchorVert" val="t"/>
                    <dgm:param type="parTxLTRAlign" val="r"/>
                    <dgm:param type="parTxRTLAlign" val="r"/>
                  </dgm:alg>
                  <dgm:shape xmlns:r="http://schemas.openxmlformats.org/officeDocument/2006/relationships" type="round2DiagRect" r:blip="">
                    <dgm:adjLst/>
                  </dgm:shape>
                  <dgm:presOf axis="desOrSelf" ptType="node"/>
                  <dgm:constrLst>
                    <dgm:constr type="lMarg"/>
                    <dgm:constr type="tMarg"/>
                    <dgm:constr type="bMarg"/>
                  </dgm:constrLst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6" axis="ch" ptType="node" func="cnt" op="equ" val="2">
            <dgm:layoutNode name="arrowDiagram2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7">
                <dgm:if name="Name8" func="var" arg="dir" op="equ" val="norm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l" for="ch" forName="textBox2a" refType="ctrX" refFor="ch" refForName="bullet2a"/>
                    <dgm:constr type="t" for="ch" forName="textBox2a" refType="ctrY" refFor="ch" refForName="bullet2a"/>
                    <dgm:constr type="w" for="ch" forName="textBox2a" refType="w" fact="0.325"/>
                    <dgm:constr type="h" for="ch" forName="textBox2a" refType="h" fact="0.427"/>
                    <dgm:constr type="userA" refType="h" refFor="ch" refForName="bullet2a" fact="0.53"/>
                    <dgm:constr type="l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l" for="ch" forName="textBox2b" refType="ctrX" refFor="ch" refForName="bullet2b"/>
                    <dgm:constr type="t" for="ch" forName="textBox2b" refType="ctrY" refFor="ch" refForName="bullet2b"/>
                    <dgm:constr type="w" for="ch" forName="textBox2b" refType="w" fact="0.325"/>
                    <dgm:constr type="h" for="ch" forName="textBox2b" refType="h" fact="0.662"/>
                    <dgm:constr type="userB" refType="h" refFor="ch" refForName="bullet2b" fact="0.53"/>
                    <dgm:constr type="lMarg" for="ch" forName="textBox2b" refType="userB" fact="2.834"/>
                    <dgm:constr type="primFontSz" for="ch" ptType="node" op="equ" val="65"/>
                  </dgm:constrLst>
                </dgm:if>
                <dgm:else name="Name9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r" for="ch" forName="textBox2a" refType="ctrX" refFor="ch" refForName="bullet2a"/>
                    <dgm:constr type="b" for="ch" forName="textBox2a" refType="ctrY" refFor="ch" refForName="bullet2a"/>
                    <dgm:constr type="w" for="ch" forName="textBox2a" refType="w" fact="0.25"/>
                    <dgm:constr type="h" for="ch" forName="textBox2a" refType="h" fact="0.573"/>
                    <dgm:constr type="userA" refType="h" refFor="ch" refForName="bullet2a" fact="0.53"/>
                    <dgm:constr type="r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r" for="ch" forName="textBox2b" refType="ctrX" refFor="ch" refForName="bullet2b"/>
                    <dgm:constr type="b" for="ch" forName="textBox2b" refType="ctrY" refFor="ch" refForName="bullet2b"/>
                    <dgm:constr type="w" for="ch" forName="textBox2b" refType="w" fact="0.28"/>
                    <dgm:constr type="h" for="ch" forName="textBox2b" refType="h" fact="0.338"/>
                    <dgm:constr type="userB" refType="h" refFor="ch" refForName="bullet2b" fact="0.53"/>
                    <dgm:constr type="rMarg" for="ch" forName="textBox2b" refType="userB" fact="2.834"/>
                    <dgm:constr type="primFontSz" for="ch" ptType="node" op="equ" val="65"/>
                  </dgm:constrLst>
                </dgm:else>
              </dgm:choose>
              <dgm:ruleLst/>
              <dgm:forEach name="Name10" axis="ch" ptType="node" cnt="1">
                <dgm:layoutNode name="bullet2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a" styleLbl="revTx">
                  <dgm:varLst>
                    <dgm:bulletEnabled val="1"/>
                  </dgm:varLst>
                  <dgm:choose name="Name11">
                    <dgm:if name="Name12" func="var" arg="dir" op="equ" val="norm">
                      <dgm:choose name="Name13">
                        <dgm:if name="Name1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6">
                      <dgm:choose name="Name17">
                        <dgm:if name="Name1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">
                    <dgm:if name="Name2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23" axis="ch" ptType="node" st="2" cnt="1">
                <dgm:layoutNode name="bullet2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b" styleLbl="revTx">
                  <dgm:varLst>
                    <dgm:bulletEnabled val="1"/>
                  </dgm:varLst>
                  <dgm:choose name="Name24">
                    <dgm:if name="Name25" func="var" arg="dir" op="equ" val="norm">
                      <dgm:choose name="Name26">
                        <dgm:if name="Name2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2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29">
                      <dgm:choose name="Name30">
                        <dgm:if name="Name3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3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33">
                    <dgm:if name="Name3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3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36" axis="ch" ptType="node" func="cnt" op="equ" val="3">
            <dgm:layoutNode name="arrowDiagram3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37">
                <dgm:if name="Name38" func="var" arg="dir" op="equ" val="norm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l" for="ch" forName="textBox3a" refType="ctrX" refFor="ch" refForName="bullet3a"/>
                    <dgm:constr type="t" for="ch" forName="textBox3a" refType="ctrY" refFor="ch" refForName="bullet3a"/>
                    <dgm:constr type="w" for="ch" forName="textBox3a" refType="w" fact="0.233"/>
                    <dgm:constr type="h" for="ch" forName="textBox3a" refType="h" fact="0.289"/>
                    <dgm:constr type="userA" refType="h" refFor="ch" refForName="bullet3a" fact="0.53"/>
                    <dgm:constr type="l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l" for="ch" forName="textBox3b" refType="ctrX" refFor="ch" refForName="bullet3b"/>
                    <dgm:constr type="t" for="ch" forName="textBox3b" refType="ctrY" refFor="ch" refForName="bullet3b"/>
                    <dgm:constr type="w" for="ch" forName="textBox3b" refType="w" fact="0.24"/>
                    <dgm:constr type="h" for="ch" forName="textBox3b" refType="h" fact="0.544"/>
                    <dgm:constr type="userB" refType="h" refFor="ch" refForName="bullet3b" fact="0.53"/>
                    <dgm:constr type="l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l" for="ch" forName="textBox3c" refType="ctrX" refFor="ch" refForName="bullet3c"/>
                    <dgm:constr type="t" for="ch" forName="textBox3c" refType="ctrY" refFor="ch" refForName="bullet3c"/>
                    <dgm:constr type="w" for="ch" forName="textBox3c" refType="w" fact="0.24"/>
                    <dgm:constr type="h" for="ch" forName="textBox3c" refType="h" fact="0.695"/>
                    <dgm:constr type="userC" refType="h" refFor="ch" refForName="bullet3c" fact="0.53"/>
                    <dgm:constr type="lMarg" for="ch" forName="textBox3c" refType="userC" fact="2.834"/>
                    <dgm:constr type="primFontSz" for="ch" ptType="node" op="equ" val="65"/>
                  </dgm:constrLst>
                </dgm:if>
                <dgm:else name="Name39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r" for="ch" forName="textBox3a" refType="ctrX" refFor="ch" refForName="bullet3a"/>
                    <dgm:constr type="b" for="ch" forName="textBox3a" refType="ctrY" refFor="ch" refForName="bullet3a"/>
                    <dgm:constr type="w" for="ch" forName="textBox3a" refType="w" fact="0.14"/>
                    <dgm:constr type="h" for="ch" forName="textBox3a" refType="h" fact="0.711"/>
                    <dgm:constr type="userA" refType="h" refFor="ch" refForName="bullet3a" fact="0.53"/>
                    <dgm:constr type="r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r" for="ch" forName="textBox3b" refType="ctrX" refFor="ch" refForName="bullet3b"/>
                    <dgm:constr type="b" for="ch" forName="textBox3b" refType="ctrY" refFor="ch" refForName="bullet3b"/>
                    <dgm:constr type="w" for="ch" forName="textBox3b" refType="w" fact="0.24"/>
                    <dgm:constr type="h" for="ch" forName="textBox3b" refType="h" fact="0.456"/>
                    <dgm:constr type="userB" refType="h" refFor="ch" refForName="bullet3b" fact="0.53"/>
                    <dgm:constr type="r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r" for="ch" forName="textBox3c" refType="ctrX" refFor="ch" refForName="bullet3c"/>
                    <dgm:constr type="b" for="ch" forName="textBox3c" refType="ctrY" refFor="ch" refForName="bullet3c"/>
                    <dgm:constr type="w" for="ch" forName="textBox3c" refType="w" fact="0.24"/>
                    <dgm:constr type="h" for="ch" forName="textBox3c" refType="h" fact="0.305"/>
                    <dgm:constr type="userC" refType="h" refFor="ch" refForName="bullet3c" fact="0.53"/>
                    <dgm:constr type="rMarg" for="ch" forName="textBox3c" refType="userC" fact="2.834"/>
                    <dgm:constr type="primFontSz" for="ch" ptType="node" op="equ" val="65"/>
                  </dgm:constrLst>
                </dgm:else>
              </dgm:choose>
              <dgm:ruleLst/>
              <dgm:forEach name="Name40" axis="ch" ptType="node" cnt="1">
                <dgm:layoutNode name="bullet3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a" styleLbl="revTx">
                  <dgm:varLst>
                    <dgm:bulletEnabled val="1"/>
                  </dgm:varLst>
                  <dgm:choose name="Name41">
                    <dgm:if name="Name42" func="var" arg="dir" op="equ" val="norm">
                      <dgm:choose name="Name43">
                        <dgm:if name="Name4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4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46">
                      <dgm:choose name="Name47">
                        <dgm:if name="Name4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4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50">
                    <dgm:if name="Name5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5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53" axis="ch" ptType="node" st="2" cnt="1">
                <dgm:layoutNode name="bullet3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b" styleLbl="revTx">
                  <dgm:varLst>
                    <dgm:bulletEnabled val="1"/>
                  </dgm:varLst>
                  <dgm:choose name="Name54">
                    <dgm:if name="Name55" func="var" arg="dir" op="equ" val="norm">
                      <dgm:choose name="Name56">
                        <dgm:if name="Name5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5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59">
                      <dgm:choose name="Name60">
                        <dgm:if name="Name6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6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63">
                    <dgm:if name="Name6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6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66" axis="ch" ptType="node" st="3" cnt="1">
                <dgm:layoutNode name="bullet3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c" styleLbl="revTx">
                  <dgm:varLst>
                    <dgm:bulletEnabled val="1"/>
                  </dgm:varLst>
                  <dgm:choose name="Name67">
                    <dgm:if name="Name68" func="var" arg="dir" op="equ" val="norm">
                      <dgm:choose name="Name69">
                        <dgm:if name="Name7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7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72">
                      <dgm:choose name="Name73">
                        <dgm:if name="Name7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7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76">
                    <dgm:if name="Name7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7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79" axis="ch" ptType="node" func="cnt" op="equ" val="4">
            <dgm:layoutNode name="arrowDiagram4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80">
                <dgm:if name="Name81" func="var" arg="dir" op="equ" val="norm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l" for="ch" forName="textBox4a" refType="ctrX" refFor="ch" refForName="bullet4a"/>
                    <dgm:constr type="t" for="ch" forName="textBox4a" refType="ctrY" refFor="ch" refForName="bullet4a"/>
                    <dgm:constr type="w" for="ch" forName="textBox4a" refType="w" fact="0.171"/>
                    <dgm:constr type="h" for="ch" forName="textBox4a" refType="h" fact="0.238"/>
                    <dgm:constr type="userA" refType="h" refFor="ch" refForName="bullet4a" fact="0.53"/>
                    <dgm:constr type="l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l" for="ch" forName="textBox4b" refType="ctrX" refFor="ch" refForName="bullet4b"/>
                    <dgm:constr type="t" for="ch" forName="textBox4b" refType="ctrY" refFor="ch" refForName="bullet4b"/>
                    <dgm:constr type="w" for="ch" forName="textBox4b" refType="w" fact="0.21"/>
                    <dgm:constr type="h" for="ch" forName="textBox4b" refType="h" fact="0.457"/>
                    <dgm:constr type="userB" refType="h" refFor="ch" refForName="bullet4b" fact="0.53"/>
                    <dgm:constr type="l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l" for="ch" forName="textBox4c" refType="ctrX" refFor="ch" refForName="bullet4c"/>
                    <dgm:constr type="t" for="ch" forName="textBox4c" refType="ctrY" refFor="ch" refForName="bullet4c"/>
                    <dgm:constr type="w" for="ch" forName="textBox4c" refType="w" fact="0.21"/>
                    <dgm:constr type="h" for="ch" forName="textBox4c" refType="h" fact="0.618"/>
                    <dgm:constr type="userC" refType="h" refFor="ch" refForName="bullet4c" fact="0.53"/>
                    <dgm:constr type="l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l" for="ch" forName="textBox4d" refType="ctrX" refFor="ch" refForName="bullet4d"/>
                    <dgm:constr type="t" for="ch" forName="textBox4d" refType="ctrY" refFor="ch" refForName="bullet4d"/>
                    <dgm:constr type="w" for="ch" forName="textBox4d" refType="w" fact="0.21"/>
                    <dgm:constr type="h" for="ch" forName="textBox4d" refType="h" fact="0.717"/>
                    <dgm:constr type="userD" refType="h" refFor="ch" refForName="bullet4d" fact="0.53"/>
                    <dgm:constr type="lMarg" for="ch" forName="textBox4d" refType="userD" fact="2.834"/>
                    <dgm:constr type="primFontSz" for="ch" ptType="node" op="equ" val="65"/>
                  </dgm:constrLst>
                </dgm:if>
                <dgm:else name="Name82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r" for="ch" forName="textBox4a" refType="ctrX" refFor="ch" refForName="bullet4a"/>
                    <dgm:constr type="b" for="ch" forName="textBox4a" refType="ctrY" refFor="ch" refForName="bullet4a"/>
                    <dgm:constr type="w" for="ch" forName="textBox4a" refType="w" fact="0.11"/>
                    <dgm:constr type="h" for="ch" forName="textBox4a" refType="h" fact="0.762"/>
                    <dgm:constr type="userA" refType="h" refFor="ch" refForName="bullet4a" fact="0.53"/>
                    <dgm:constr type="r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r" for="ch" forName="textBox4b" refType="ctrX" refFor="ch" refForName="bullet4b"/>
                    <dgm:constr type="b" for="ch" forName="textBox4b" refType="ctrY" refFor="ch" refForName="bullet4b"/>
                    <dgm:constr type="w" for="ch" forName="textBox4b" refType="w" fact="0.171"/>
                    <dgm:constr type="h" for="ch" forName="textBox4b" refType="h" fact="0.543"/>
                    <dgm:constr type="userB" refType="h" refFor="ch" refForName="bullet4b" fact="0.53"/>
                    <dgm:constr type="r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r" for="ch" forName="textBox4c" refType="ctrX" refFor="ch" refForName="bullet4c"/>
                    <dgm:constr type="b" for="ch" forName="textBox4c" refType="ctrY" refFor="ch" refForName="bullet4c"/>
                    <dgm:constr type="w" for="ch" forName="textBox4c" refType="w" fact="0.21"/>
                    <dgm:constr type="h" for="ch" forName="textBox4c" refType="h" fact="0.382"/>
                    <dgm:constr type="userC" refType="h" refFor="ch" refForName="bullet4c" fact="0.53"/>
                    <dgm:constr type="r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r" for="ch" forName="textBox4d" refType="ctrX" refFor="ch" refForName="bullet4d"/>
                    <dgm:constr type="b" for="ch" forName="textBox4d" refType="ctrY" refFor="ch" refForName="bullet4d"/>
                    <dgm:constr type="w" for="ch" forName="textBox4d" refType="w" fact="0.21"/>
                    <dgm:constr type="h" for="ch" forName="textBox4d" refType="h" fact="0.283"/>
                    <dgm:constr type="userD" refType="h" refFor="ch" refForName="bullet4d" fact="0.53"/>
                    <dgm:constr type="rMarg" for="ch" forName="textBox4d" refType="userD" fact="2.834"/>
                    <dgm:constr type="primFontSz" for="ch" ptType="node" op="equ" val="65"/>
                  </dgm:constrLst>
                </dgm:else>
              </dgm:choose>
              <dgm:ruleLst/>
              <dgm:forEach name="Name83" axis="ch" ptType="node" cnt="1">
                <dgm:layoutNode name="bullet4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a" styleLbl="revTx">
                  <dgm:varLst>
                    <dgm:bulletEnabled val="1"/>
                  </dgm:varLst>
                  <dgm:choose name="Name84">
                    <dgm:if name="Name85" func="var" arg="dir" op="equ" val="norm">
                      <dgm:choose name="Name86">
                        <dgm:if name="Name8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8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89">
                      <dgm:choose name="Name90">
                        <dgm:if name="Name9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9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93">
                    <dgm:if name="Name9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9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96" axis="ch" ptType="node" st="2" cnt="1">
                <dgm:layoutNode name="bullet4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b" styleLbl="revTx">
                  <dgm:varLst>
                    <dgm:bulletEnabled val="1"/>
                  </dgm:varLst>
                  <dgm:choose name="Name97">
                    <dgm:if name="Name98" func="var" arg="dir" op="equ" val="norm">
                      <dgm:choose name="Name99">
                        <dgm:if name="Name10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0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0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06">
                    <dgm:if name="Name10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0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09" axis="ch" ptType="node" st="3" cnt="1">
                <dgm:layoutNode name="bullet4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c" styleLbl="revTx">
                  <dgm:varLst>
                    <dgm:bulletEnabled val="1"/>
                  </dgm:varLst>
                  <dgm:choose name="Name110">
                    <dgm:if name="Name111" func="var" arg="dir" op="equ" val="norm">
                      <dgm:choose name="Name112">
                        <dgm:if name="Name11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1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15">
                      <dgm:choose name="Name116">
                        <dgm:if name="Name11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1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19">
                    <dgm:if name="Name12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2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22" axis="ch" ptType="node" st="4" cnt="1">
                <dgm:layoutNode name="bullet4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d" styleLbl="revTx">
                  <dgm:varLst>
                    <dgm:bulletEnabled val="1"/>
                  </dgm:varLst>
                  <dgm:choose name="Name123">
                    <dgm:if name="Name124" func="var" arg="dir" op="equ" val="norm">
                      <dgm:choose name="Name125">
                        <dgm:if name="Name12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2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28">
                      <dgm:choose name="Name129">
                        <dgm:if name="Name13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3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32">
                    <dgm:if name="Name13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3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else name="Name135">
            <dgm:layoutNode name="arrowDiagram5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136">
                <dgm:if name="Name137" func="var" arg="dir" op="equ" val="norm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l" for="ch" forName="textBox5a" refType="ctrX" refFor="ch" refForName="bullet5a"/>
                    <dgm:constr type="t" for="ch" forName="textBox5a" refType="ctrY" refFor="ch" refForName="bullet5a"/>
                    <dgm:constr type="w" for="ch" forName="textBox5a" refType="w" fact="0.131"/>
                    <dgm:constr type="h" for="ch" forName="textBox5a" refType="h" fact="0.238"/>
                    <dgm:constr type="userA" refType="h" refFor="ch" refForName="bullet5a" fact="0.53"/>
                    <dgm:constr type="l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l" for="ch" forName="textBox5b" refType="ctrX" refFor="ch" refForName="bullet5b"/>
                    <dgm:constr type="t" for="ch" forName="textBox5b" refType="ctrY" refFor="ch" refForName="bullet5b"/>
                    <dgm:constr type="w" for="ch" forName="textBox5b" refType="w" fact="0.166"/>
                    <dgm:constr type="h" for="ch" forName="textBox5b" refType="h" fact="0.419"/>
                    <dgm:constr type="userB" refType="h" refFor="ch" refForName="bullet5b" fact="0.53"/>
                    <dgm:constr type="l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l" for="ch" forName="textBox5c" refType="ctrX" refFor="ch" refForName="bullet5c"/>
                    <dgm:constr type="t" for="ch" forName="textBox5c" refType="ctrY" refFor="ch" refForName="bullet5c"/>
                    <dgm:constr type="w" for="ch" forName="textBox5c" refType="w" fact="0.193"/>
                    <dgm:constr type="h" for="ch" forName="textBox5c" refType="h" fact="0.562"/>
                    <dgm:constr type="userC" refType="h" refFor="ch" refForName="bullet5c" fact="0.53"/>
                    <dgm:constr type="l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l" for="ch" forName="textBox5d" refType="ctrX" refFor="ch" refForName="bullet5d"/>
                    <dgm:constr type="t" for="ch" forName="textBox5d" refType="ctrY" refFor="ch" refForName="bullet5d"/>
                    <dgm:constr type="w" for="ch" forName="textBox5d" refType="w" fact="0.2"/>
                    <dgm:constr type="h" for="ch" forName="textBox5d" refType="h" fact="0.67"/>
                    <dgm:constr type="userD" refType="h" refFor="ch" refForName="bullet5d" fact="0.53"/>
                    <dgm:constr type="l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l" for="ch" forName="textBox5e" refType="ctrX" refFor="ch" refForName="bullet5e"/>
                    <dgm:constr type="t" for="ch" forName="textBox5e" refType="ctrY" refFor="ch" refForName="bullet5e"/>
                    <dgm:constr type="w" for="ch" forName="textBox5e" refType="w" fact="0.2"/>
                    <dgm:constr type="h" for="ch" forName="textBox5e" refType="h" fact="0.736"/>
                    <dgm:constr type="userE" refType="h" refFor="ch" refForName="bullet5e" fact="0.53"/>
                    <dgm:constr type="lMarg" for="ch" forName="textBox5e" refType="userE" fact="2.834"/>
                    <dgm:constr type="primFontSz" for="ch" ptType="node" op="equ" val="65"/>
                  </dgm:constrLst>
                </dgm:if>
                <dgm:else name="Name138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r" for="ch" forName="textBox5a" refType="ctrX" refFor="ch" refForName="bullet5a"/>
                    <dgm:constr type="b" for="ch" forName="textBox5a" refType="ctrY" refFor="ch" refForName="bullet5a"/>
                    <dgm:constr type="w" for="ch" forName="textBox5a" refType="w" fact="0.11"/>
                    <dgm:constr type="h" for="ch" forName="textBox5a" refType="h" fact="0.762"/>
                    <dgm:constr type="userA" refType="h" refFor="ch" refForName="bullet5a" fact="0.53"/>
                    <dgm:constr type="r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r" for="ch" forName="textBox5b" refType="ctrX" refFor="ch" refForName="bullet5b"/>
                    <dgm:constr type="b" for="ch" forName="textBox5b" refType="ctrY" refFor="ch" refForName="bullet5b"/>
                    <dgm:constr type="w" for="ch" forName="textBox5b" refType="w" fact="0.131"/>
                    <dgm:constr type="h" for="ch" forName="textBox5b" refType="h" fact="0.581"/>
                    <dgm:constr type="userB" refType="h" refFor="ch" refForName="bullet5b" fact="0.53"/>
                    <dgm:constr type="r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r" for="ch" forName="textBox5c" refType="ctrX" refFor="ch" refForName="bullet5c"/>
                    <dgm:constr type="b" for="ch" forName="textBox5c" refType="ctrY" refFor="ch" refForName="bullet5c"/>
                    <dgm:constr type="w" for="ch" forName="textBox5c" refType="w" fact="0.166"/>
                    <dgm:constr type="h" for="ch" forName="textBox5c" refType="h" fact="0.438"/>
                    <dgm:constr type="userC" refType="h" refFor="ch" refForName="bullet5c" fact="0.53"/>
                    <dgm:constr type="r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r" for="ch" forName="textBox5d" refType="ctrX" refFor="ch" refForName="bullet5d"/>
                    <dgm:constr type="b" for="ch" forName="textBox5d" refType="ctrY" refFor="ch" refForName="bullet5d"/>
                    <dgm:constr type="w" for="ch" forName="textBox5d" refType="w" fact="0.193"/>
                    <dgm:constr type="h" for="ch" forName="textBox5d" refType="h" fact="0.33"/>
                    <dgm:constr type="userD" refType="h" refFor="ch" refForName="bullet5d" fact="0.53"/>
                    <dgm:constr type="r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r" for="ch" forName="textBox5e" refType="ctrX" refFor="ch" refForName="bullet5e"/>
                    <dgm:constr type="b" for="ch" forName="textBox5e" refType="ctrY" refFor="ch" refForName="bullet5e"/>
                    <dgm:constr type="w" for="ch" forName="textBox5e" refType="w" fact="0.2"/>
                    <dgm:constr type="h" for="ch" forName="textBox5e" refType="h" fact="0.264"/>
                    <dgm:constr type="userE" refType="h" refFor="ch" refForName="bullet5e" fact="0.53"/>
                    <dgm:constr type="rMarg" for="ch" forName="textBox5e" refType="userE" fact="2.834"/>
                    <dgm:constr type="primFontSz" for="ch" ptType="node" op="equ" val="65"/>
                  </dgm:constrLst>
                </dgm:else>
              </dgm:choose>
              <dgm:ruleLst/>
              <dgm:forEach name="Name139" axis="ch" ptType="node" cnt="1">
                <dgm:layoutNode name="bullet5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a" styleLbl="revTx">
                  <dgm:varLst>
                    <dgm:bulletEnabled val="1"/>
                  </dgm:varLst>
                  <dgm:choose name="Name140">
                    <dgm:if name="Name141" func="var" arg="dir" op="equ" val="norm">
                      <dgm:choose name="Name142">
                        <dgm:if name="Name14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4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45">
                      <dgm:choose name="Name146">
                        <dgm:if name="Name14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4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49">
                    <dgm:if name="Name15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5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52" axis="ch" ptType="node" st="2" cnt="1">
                <dgm:layoutNode name="bullet5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b" styleLbl="revTx">
                  <dgm:varLst>
                    <dgm:bulletEnabled val="1"/>
                  </dgm:varLst>
                  <dgm:choose name="Name153">
                    <dgm:if name="Name154" func="var" arg="dir" op="equ" val="norm">
                      <dgm:choose name="Name155">
                        <dgm:if name="Name15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58">
                      <dgm:choose name="Name159">
                        <dgm:if name="Name16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6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62">
                    <dgm:if name="Name16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6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65" axis="ch" ptType="node" st="3" cnt="1">
                <dgm:layoutNode name="bullet5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c" styleLbl="revTx">
                  <dgm:varLst>
                    <dgm:bulletEnabled val="1"/>
                  </dgm:varLst>
                  <dgm:choose name="Name166">
                    <dgm:if name="Name167" func="var" arg="dir" op="equ" val="norm">
                      <dgm:choose name="Name168">
                        <dgm:if name="Name169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70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71">
                      <dgm:choose name="Name172">
                        <dgm:if name="Name173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74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75">
                    <dgm:if name="Name176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77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78" axis="ch" ptType="node" st="4" cnt="1">
                <dgm:layoutNode name="bullet5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d" styleLbl="revTx">
                  <dgm:varLst>
                    <dgm:bulletEnabled val="1"/>
                  </dgm:varLst>
                  <dgm:choose name="Name179">
                    <dgm:if name="Name180" func="var" arg="dir" op="equ" val="norm">
                      <dgm:choose name="Name181">
                        <dgm:if name="Name182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83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84">
                      <dgm:choose name="Name185">
                        <dgm:if name="Name186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87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88">
                    <dgm:if name="Name189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90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91" axis="ch" ptType="node" st="5" cnt="1">
                <dgm:layoutNode name="bullet5e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e" styleLbl="revTx">
                  <dgm:varLst>
                    <dgm:bulletEnabled val="1"/>
                  </dgm:varLst>
                  <dgm:choose name="Name192">
                    <dgm:if name="Name193" func="var" arg="dir" op="equ" val="norm">
                      <dgm:choose name="Name194">
                        <dgm:if name="Name195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96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97">
                      <dgm:choose name="Name198">
                        <dgm:if name="Name199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200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1">
                    <dgm:if name="Name202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03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else>
        </dgm:choose>
      </dgm:if>
      <dgm:else name="Name204"/>
    </dgm:choose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arrow2">
  <dgm:title val=""/>
  <dgm:desc val=""/>
  <dgm:catLst>
    <dgm:cat type="process" pri="2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arrowDiagram">
    <dgm:varLst>
      <dgm:chMax val="5"/>
      <dgm:dir/>
      <dgm:resizeHandles val="exact"/>
    </dgm:varLst>
    <dgm:alg type="composite">
      <dgm:param type="ar" val="1.6"/>
    </dgm:alg>
    <dgm:shape xmlns:r="http://schemas.openxmlformats.org/officeDocument/2006/relationships" r:blip="">
      <dgm:adjLst/>
    </dgm:shape>
    <dgm:presOf/>
    <dgm:constrLst>
      <dgm:constr type="l" for="ch" forName="arrow"/>
      <dgm:constr type="t" for="ch" forName="arrow"/>
      <dgm:constr type="w" for="ch" forName="arrow" refType="w"/>
      <dgm:constr type="h" for="ch" forName="arrow" refType="h"/>
      <dgm:constr type="ctrX" for="ch" forName="arrowDiagram1" refType="w" fact="0.5"/>
      <dgm:constr type="ctrY" for="ch" forName="arrowDiagram1" refType="h" fact="0.5"/>
      <dgm:constr type="w" for="ch" forName="arrowDiagram1" refType="w"/>
      <dgm:constr type="h" for="ch" forName="arrowDiagram1" refType="h"/>
      <dgm:constr type="ctrX" for="ch" forName="arrowDiagram2" refType="w" fact="0.5"/>
      <dgm:constr type="ctrY" for="ch" forName="arrowDiagram2" refType="h" fact="0.5"/>
      <dgm:constr type="w" for="ch" forName="arrowDiagram2" refType="w"/>
      <dgm:constr type="h" for="ch" forName="arrowDiagram2" refType="h"/>
      <dgm:constr type="ctrX" for="ch" forName="arrowDiagram3" refType="w" fact="0.5"/>
      <dgm:constr type="ctrY" for="ch" forName="arrowDiagram3" refType="h" fact="0.5"/>
      <dgm:constr type="w" for="ch" forName="arrowDiagram3" refType="w"/>
      <dgm:constr type="h" for="ch" forName="arrowDiagram3" refType="h"/>
      <dgm:constr type="ctrX" for="ch" forName="arrowDiagram4" refType="w" fact="0.5"/>
      <dgm:constr type="ctrY" for="ch" forName="arrowDiagram4" refType="h" fact="0.5"/>
      <dgm:constr type="w" for="ch" forName="arrowDiagram4" refType="w"/>
      <dgm:constr type="h" for="ch" forName="arrowDiagram4" refType="h"/>
      <dgm:constr type="ctrX" for="ch" forName="arrowDiagram5" refType="w" fact="0.5"/>
      <dgm:constr type="ctrY" for="ch" forName="arrowDiagram5" refType="h" fact="0.5"/>
      <dgm:constr type="w" for="ch" forName="arrowDiagram5" refType="w"/>
      <dgm:constr type="h" for="ch" forName="arrowDiagram5" refType="h"/>
    </dgm:constrLst>
    <dgm:ruleLst/>
    <dgm:choose name="Name0">
      <dgm:if name="Name1" axis="ch" ptType="node" func="cnt" op="gte" val="1">
        <dgm:layoutNode name="arrow" styleLbl="bgShp">
          <dgm:alg type="sp"/>
          <dgm:shape xmlns:r="http://schemas.openxmlformats.org/officeDocument/2006/relationships" type="swooshArrow" r:blip="">
            <dgm:adjLst>
              <dgm:adj idx="2" val="0.25"/>
            </dgm:adjLst>
          </dgm:shape>
          <dgm:presOf/>
          <dgm:constrLst/>
          <dgm:ruleLst/>
        </dgm:layoutNode>
        <dgm:choose name="Name2">
          <dgm:if name="Name3" axis="ch" ptType="node" func="cnt" op="lt" val="1"/>
          <dgm:if name="Name4" axis="ch" ptType="node" func="cnt" op="equ" val="1">
            <dgm:layoutNode name="arrowDiagram1">
              <dgm:varLst>
                <dgm:bulletEnabled val="1"/>
              </dgm:varLst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ctrX" for="ch" forName="bullet1" refType="w" fact="0.8"/>
                <dgm:constr type="ctrY" for="ch" forName="bullet1" refType="h" fact="0.262"/>
                <dgm:constr type="w" for="ch" forName="bullet1" refType="w" fact="0.074"/>
                <dgm:constr type="h" for="ch" forName="bullet1" refType="w" refFor="ch" refForName="bullet1"/>
                <dgm:constr type="r" for="ch" forName="textBox1" refType="ctrX" refFor="ch" refForName="bullet1"/>
                <dgm:constr type="t" for="ch" forName="textBox1" refType="ctrY" refFor="ch" refForName="bullet1"/>
                <dgm:constr type="w" for="ch" forName="textBox1" refType="w" fact="0.4"/>
                <dgm:constr type="h" for="ch" forName="textBox1" refType="h" fact="0.738"/>
                <dgm:constr type="userA" refType="h" refFor="ch" refForName="bullet1" fact="0.53"/>
                <dgm:constr type="rMarg" for="ch" forName="textBox1" refType="userA" fact="2.834"/>
                <dgm:constr type="primFontSz" for="ch" ptType="node" op="equ" val="65"/>
              </dgm:constrLst>
              <dgm:ruleLst/>
              <dgm:forEach name="Name5" axis="ch" ptType="node" cnt="1">
                <dgm:layoutNode name="bullet1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1" styleLbl="revTx">
                  <dgm:varLst>
                    <dgm:bulletEnabled val="1"/>
                  </dgm:varLst>
                  <dgm:alg type="tx">
                    <dgm:param type="txAnchorVert" val="t"/>
                    <dgm:param type="parTxLTRAlign" val="r"/>
                    <dgm:param type="parTxRTLAlign" val="r"/>
                  </dgm:alg>
                  <dgm:shape xmlns:r="http://schemas.openxmlformats.org/officeDocument/2006/relationships" type="round2DiagRect" r:blip="">
                    <dgm:adjLst/>
                  </dgm:shape>
                  <dgm:presOf axis="desOrSelf" ptType="node"/>
                  <dgm:constrLst>
                    <dgm:constr type="lMarg"/>
                    <dgm:constr type="tMarg"/>
                    <dgm:constr type="bMarg"/>
                  </dgm:constrLst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6" axis="ch" ptType="node" func="cnt" op="equ" val="2">
            <dgm:layoutNode name="arrowDiagram2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7">
                <dgm:if name="Name8" func="var" arg="dir" op="equ" val="norm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l" for="ch" forName="textBox2a" refType="ctrX" refFor="ch" refForName="bullet2a"/>
                    <dgm:constr type="t" for="ch" forName="textBox2a" refType="ctrY" refFor="ch" refForName="bullet2a"/>
                    <dgm:constr type="w" for="ch" forName="textBox2a" refType="w" fact="0.325"/>
                    <dgm:constr type="h" for="ch" forName="textBox2a" refType="h" fact="0.427"/>
                    <dgm:constr type="userA" refType="h" refFor="ch" refForName="bullet2a" fact="0.53"/>
                    <dgm:constr type="l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l" for="ch" forName="textBox2b" refType="ctrX" refFor="ch" refForName="bullet2b"/>
                    <dgm:constr type="t" for="ch" forName="textBox2b" refType="ctrY" refFor="ch" refForName="bullet2b"/>
                    <dgm:constr type="w" for="ch" forName="textBox2b" refType="w" fact="0.325"/>
                    <dgm:constr type="h" for="ch" forName="textBox2b" refType="h" fact="0.662"/>
                    <dgm:constr type="userB" refType="h" refFor="ch" refForName="bullet2b" fact="0.53"/>
                    <dgm:constr type="lMarg" for="ch" forName="textBox2b" refType="userB" fact="2.834"/>
                    <dgm:constr type="primFontSz" for="ch" ptType="node" op="equ" val="65"/>
                  </dgm:constrLst>
                </dgm:if>
                <dgm:else name="Name9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r" for="ch" forName="textBox2a" refType="ctrX" refFor="ch" refForName="bullet2a"/>
                    <dgm:constr type="b" for="ch" forName="textBox2a" refType="ctrY" refFor="ch" refForName="bullet2a"/>
                    <dgm:constr type="w" for="ch" forName="textBox2a" refType="w" fact="0.25"/>
                    <dgm:constr type="h" for="ch" forName="textBox2a" refType="h" fact="0.573"/>
                    <dgm:constr type="userA" refType="h" refFor="ch" refForName="bullet2a" fact="0.53"/>
                    <dgm:constr type="r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r" for="ch" forName="textBox2b" refType="ctrX" refFor="ch" refForName="bullet2b"/>
                    <dgm:constr type="b" for="ch" forName="textBox2b" refType="ctrY" refFor="ch" refForName="bullet2b"/>
                    <dgm:constr type="w" for="ch" forName="textBox2b" refType="w" fact="0.28"/>
                    <dgm:constr type="h" for="ch" forName="textBox2b" refType="h" fact="0.338"/>
                    <dgm:constr type="userB" refType="h" refFor="ch" refForName="bullet2b" fact="0.53"/>
                    <dgm:constr type="rMarg" for="ch" forName="textBox2b" refType="userB" fact="2.834"/>
                    <dgm:constr type="primFontSz" for="ch" ptType="node" op="equ" val="65"/>
                  </dgm:constrLst>
                </dgm:else>
              </dgm:choose>
              <dgm:ruleLst/>
              <dgm:forEach name="Name10" axis="ch" ptType="node" cnt="1">
                <dgm:layoutNode name="bullet2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a" styleLbl="revTx">
                  <dgm:varLst>
                    <dgm:bulletEnabled val="1"/>
                  </dgm:varLst>
                  <dgm:choose name="Name11">
                    <dgm:if name="Name12" func="var" arg="dir" op="equ" val="norm">
                      <dgm:choose name="Name13">
                        <dgm:if name="Name1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6">
                      <dgm:choose name="Name17">
                        <dgm:if name="Name1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">
                    <dgm:if name="Name2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23" axis="ch" ptType="node" st="2" cnt="1">
                <dgm:layoutNode name="bullet2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b" styleLbl="revTx">
                  <dgm:varLst>
                    <dgm:bulletEnabled val="1"/>
                  </dgm:varLst>
                  <dgm:choose name="Name24">
                    <dgm:if name="Name25" func="var" arg="dir" op="equ" val="norm">
                      <dgm:choose name="Name26">
                        <dgm:if name="Name2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2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29">
                      <dgm:choose name="Name30">
                        <dgm:if name="Name3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3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33">
                    <dgm:if name="Name3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3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36" axis="ch" ptType="node" func="cnt" op="equ" val="3">
            <dgm:layoutNode name="arrowDiagram3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37">
                <dgm:if name="Name38" func="var" arg="dir" op="equ" val="norm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l" for="ch" forName="textBox3a" refType="ctrX" refFor="ch" refForName="bullet3a"/>
                    <dgm:constr type="t" for="ch" forName="textBox3a" refType="ctrY" refFor="ch" refForName="bullet3a"/>
                    <dgm:constr type="w" for="ch" forName="textBox3a" refType="w" fact="0.233"/>
                    <dgm:constr type="h" for="ch" forName="textBox3a" refType="h" fact="0.289"/>
                    <dgm:constr type="userA" refType="h" refFor="ch" refForName="bullet3a" fact="0.53"/>
                    <dgm:constr type="l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l" for="ch" forName="textBox3b" refType="ctrX" refFor="ch" refForName="bullet3b"/>
                    <dgm:constr type="t" for="ch" forName="textBox3b" refType="ctrY" refFor="ch" refForName="bullet3b"/>
                    <dgm:constr type="w" for="ch" forName="textBox3b" refType="w" fact="0.24"/>
                    <dgm:constr type="h" for="ch" forName="textBox3b" refType="h" fact="0.544"/>
                    <dgm:constr type="userB" refType="h" refFor="ch" refForName="bullet3b" fact="0.53"/>
                    <dgm:constr type="l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l" for="ch" forName="textBox3c" refType="ctrX" refFor="ch" refForName="bullet3c"/>
                    <dgm:constr type="t" for="ch" forName="textBox3c" refType="ctrY" refFor="ch" refForName="bullet3c"/>
                    <dgm:constr type="w" for="ch" forName="textBox3c" refType="w" fact="0.24"/>
                    <dgm:constr type="h" for="ch" forName="textBox3c" refType="h" fact="0.695"/>
                    <dgm:constr type="userC" refType="h" refFor="ch" refForName="bullet3c" fact="0.53"/>
                    <dgm:constr type="lMarg" for="ch" forName="textBox3c" refType="userC" fact="2.834"/>
                    <dgm:constr type="primFontSz" for="ch" ptType="node" op="equ" val="65"/>
                  </dgm:constrLst>
                </dgm:if>
                <dgm:else name="Name39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r" for="ch" forName="textBox3a" refType="ctrX" refFor="ch" refForName="bullet3a"/>
                    <dgm:constr type="b" for="ch" forName="textBox3a" refType="ctrY" refFor="ch" refForName="bullet3a"/>
                    <dgm:constr type="w" for="ch" forName="textBox3a" refType="w" fact="0.14"/>
                    <dgm:constr type="h" for="ch" forName="textBox3a" refType="h" fact="0.711"/>
                    <dgm:constr type="userA" refType="h" refFor="ch" refForName="bullet3a" fact="0.53"/>
                    <dgm:constr type="r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r" for="ch" forName="textBox3b" refType="ctrX" refFor="ch" refForName="bullet3b"/>
                    <dgm:constr type="b" for="ch" forName="textBox3b" refType="ctrY" refFor="ch" refForName="bullet3b"/>
                    <dgm:constr type="w" for="ch" forName="textBox3b" refType="w" fact="0.24"/>
                    <dgm:constr type="h" for="ch" forName="textBox3b" refType="h" fact="0.456"/>
                    <dgm:constr type="userB" refType="h" refFor="ch" refForName="bullet3b" fact="0.53"/>
                    <dgm:constr type="r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r" for="ch" forName="textBox3c" refType="ctrX" refFor="ch" refForName="bullet3c"/>
                    <dgm:constr type="b" for="ch" forName="textBox3c" refType="ctrY" refFor="ch" refForName="bullet3c"/>
                    <dgm:constr type="w" for="ch" forName="textBox3c" refType="w" fact="0.24"/>
                    <dgm:constr type="h" for="ch" forName="textBox3c" refType="h" fact="0.305"/>
                    <dgm:constr type="userC" refType="h" refFor="ch" refForName="bullet3c" fact="0.53"/>
                    <dgm:constr type="rMarg" for="ch" forName="textBox3c" refType="userC" fact="2.834"/>
                    <dgm:constr type="primFontSz" for="ch" ptType="node" op="equ" val="65"/>
                  </dgm:constrLst>
                </dgm:else>
              </dgm:choose>
              <dgm:ruleLst/>
              <dgm:forEach name="Name40" axis="ch" ptType="node" cnt="1">
                <dgm:layoutNode name="bullet3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a" styleLbl="revTx">
                  <dgm:varLst>
                    <dgm:bulletEnabled val="1"/>
                  </dgm:varLst>
                  <dgm:choose name="Name41">
                    <dgm:if name="Name42" func="var" arg="dir" op="equ" val="norm">
                      <dgm:choose name="Name43">
                        <dgm:if name="Name4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4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46">
                      <dgm:choose name="Name47">
                        <dgm:if name="Name4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4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50">
                    <dgm:if name="Name5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5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53" axis="ch" ptType="node" st="2" cnt="1">
                <dgm:layoutNode name="bullet3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b" styleLbl="revTx">
                  <dgm:varLst>
                    <dgm:bulletEnabled val="1"/>
                  </dgm:varLst>
                  <dgm:choose name="Name54">
                    <dgm:if name="Name55" func="var" arg="dir" op="equ" val="norm">
                      <dgm:choose name="Name56">
                        <dgm:if name="Name5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5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59">
                      <dgm:choose name="Name60">
                        <dgm:if name="Name6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6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63">
                    <dgm:if name="Name6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6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66" axis="ch" ptType="node" st="3" cnt="1">
                <dgm:layoutNode name="bullet3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c" styleLbl="revTx">
                  <dgm:varLst>
                    <dgm:bulletEnabled val="1"/>
                  </dgm:varLst>
                  <dgm:choose name="Name67">
                    <dgm:if name="Name68" func="var" arg="dir" op="equ" val="norm">
                      <dgm:choose name="Name69">
                        <dgm:if name="Name7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7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72">
                      <dgm:choose name="Name73">
                        <dgm:if name="Name7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7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76">
                    <dgm:if name="Name7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7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79" axis="ch" ptType="node" func="cnt" op="equ" val="4">
            <dgm:layoutNode name="arrowDiagram4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80">
                <dgm:if name="Name81" func="var" arg="dir" op="equ" val="norm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l" for="ch" forName="textBox4a" refType="ctrX" refFor="ch" refForName="bullet4a"/>
                    <dgm:constr type="t" for="ch" forName="textBox4a" refType="ctrY" refFor="ch" refForName="bullet4a"/>
                    <dgm:constr type="w" for="ch" forName="textBox4a" refType="w" fact="0.171"/>
                    <dgm:constr type="h" for="ch" forName="textBox4a" refType="h" fact="0.238"/>
                    <dgm:constr type="userA" refType="h" refFor="ch" refForName="bullet4a" fact="0.53"/>
                    <dgm:constr type="l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l" for="ch" forName="textBox4b" refType="ctrX" refFor="ch" refForName="bullet4b"/>
                    <dgm:constr type="t" for="ch" forName="textBox4b" refType="ctrY" refFor="ch" refForName="bullet4b"/>
                    <dgm:constr type="w" for="ch" forName="textBox4b" refType="w" fact="0.21"/>
                    <dgm:constr type="h" for="ch" forName="textBox4b" refType="h" fact="0.457"/>
                    <dgm:constr type="userB" refType="h" refFor="ch" refForName="bullet4b" fact="0.53"/>
                    <dgm:constr type="l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l" for="ch" forName="textBox4c" refType="ctrX" refFor="ch" refForName="bullet4c"/>
                    <dgm:constr type="t" for="ch" forName="textBox4c" refType="ctrY" refFor="ch" refForName="bullet4c"/>
                    <dgm:constr type="w" for="ch" forName="textBox4c" refType="w" fact="0.21"/>
                    <dgm:constr type="h" for="ch" forName="textBox4c" refType="h" fact="0.618"/>
                    <dgm:constr type="userC" refType="h" refFor="ch" refForName="bullet4c" fact="0.53"/>
                    <dgm:constr type="l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l" for="ch" forName="textBox4d" refType="ctrX" refFor="ch" refForName="bullet4d"/>
                    <dgm:constr type="t" for="ch" forName="textBox4d" refType="ctrY" refFor="ch" refForName="bullet4d"/>
                    <dgm:constr type="w" for="ch" forName="textBox4d" refType="w" fact="0.21"/>
                    <dgm:constr type="h" for="ch" forName="textBox4d" refType="h" fact="0.717"/>
                    <dgm:constr type="userD" refType="h" refFor="ch" refForName="bullet4d" fact="0.53"/>
                    <dgm:constr type="lMarg" for="ch" forName="textBox4d" refType="userD" fact="2.834"/>
                    <dgm:constr type="primFontSz" for="ch" ptType="node" op="equ" val="65"/>
                  </dgm:constrLst>
                </dgm:if>
                <dgm:else name="Name82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r" for="ch" forName="textBox4a" refType="ctrX" refFor="ch" refForName="bullet4a"/>
                    <dgm:constr type="b" for="ch" forName="textBox4a" refType="ctrY" refFor="ch" refForName="bullet4a"/>
                    <dgm:constr type="w" for="ch" forName="textBox4a" refType="w" fact="0.11"/>
                    <dgm:constr type="h" for="ch" forName="textBox4a" refType="h" fact="0.762"/>
                    <dgm:constr type="userA" refType="h" refFor="ch" refForName="bullet4a" fact="0.53"/>
                    <dgm:constr type="r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r" for="ch" forName="textBox4b" refType="ctrX" refFor="ch" refForName="bullet4b"/>
                    <dgm:constr type="b" for="ch" forName="textBox4b" refType="ctrY" refFor="ch" refForName="bullet4b"/>
                    <dgm:constr type="w" for="ch" forName="textBox4b" refType="w" fact="0.171"/>
                    <dgm:constr type="h" for="ch" forName="textBox4b" refType="h" fact="0.543"/>
                    <dgm:constr type="userB" refType="h" refFor="ch" refForName="bullet4b" fact="0.53"/>
                    <dgm:constr type="r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r" for="ch" forName="textBox4c" refType="ctrX" refFor="ch" refForName="bullet4c"/>
                    <dgm:constr type="b" for="ch" forName="textBox4c" refType="ctrY" refFor="ch" refForName="bullet4c"/>
                    <dgm:constr type="w" for="ch" forName="textBox4c" refType="w" fact="0.21"/>
                    <dgm:constr type="h" for="ch" forName="textBox4c" refType="h" fact="0.382"/>
                    <dgm:constr type="userC" refType="h" refFor="ch" refForName="bullet4c" fact="0.53"/>
                    <dgm:constr type="r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r" for="ch" forName="textBox4d" refType="ctrX" refFor="ch" refForName="bullet4d"/>
                    <dgm:constr type="b" for="ch" forName="textBox4d" refType="ctrY" refFor="ch" refForName="bullet4d"/>
                    <dgm:constr type="w" for="ch" forName="textBox4d" refType="w" fact="0.21"/>
                    <dgm:constr type="h" for="ch" forName="textBox4d" refType="h" fact="0.283"/>
                    <dgm:constr type="userD" refType="h" refFor="ch" refForName="bullet4d" fact="0.53"/>
                    <dgm:constr type="rMarg" for="ch" forName="textBox4d" refType="userD" fact="2.834"/>
                    <dgm:constr type="primFontSz" for="ch" ptType="node" op="equ" val="65"/>
                  </dgm:constrLst>
                </dgm:else>
              </dgm:choose>
              <dgm:ruleLst/>
              <dgm:forEach name="Name83" axis="ch" ptType="node" cnt="1">
                <dgm:layoutNode name="bullet4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a" styleLbl="revTx">
                  <dgm:varLst>
                    <dgm:bulletEnabled val="1"/>
                  </dgm:varLst>
                  <dgm:choose name="Name84">
                    <dgm:if name="Name85" func="var" arg="dir" op="equ" val="norm">
                      <dgm:choose name="Name86">
                        <dgm:if name="Name8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8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89">
                      <dgm:choose name="Name90">
                        <dgm:if name="Name9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9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93">
                    <dgm:if name="Name9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9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96" axis="ch" ptType="node" st="2" cnt="1">
                <dgm:layoutNode name="bullet4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b" styleLbl="revTx">
                  <dgm:varLst>
                    <dgm:bulletEnabled val="1"/>
                  </dgm:varLst>
                  <dgm:choose name="Name97">
                    <dgm:if name="Name98" func="var" arg="dir" op="equ" val="norm">
                      <dgm:choose name="Name99">
                        <dgm:if name="Name10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0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0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06">
                    <dgm:if name="Name10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0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09" axis="ch" ptType="node" st="3" cnt="1">
                <dgm:layoutNode name="bullet4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c" styleLbl="revTx">
                  <dgm:varLst>
                    <dgm:bulletEnabled val="1"/>
                  </dgm:varLst>
                  <dgm:choose name="Name110">
                    <dgm:if name="Name111" func="var" arg="dir" op="equ" val="norm">
                      <dgm:choose name="Name112">
                        <dgm:if name="Name11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1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15">
                      <dgm:choose name="Name116">
                        <dgm:if name="Name11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1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19">
                    <dgm:if name="Name12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2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22" axis="ch" ptType="node" st="4" cnt="1">
                <dgm:layoutNode name="bullet4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d" styleLbl="revTx">
                  <dgm:varLst>
                    <dgm:bulletEnabled val="1"/>
                  </dgm:varLst>
                  <dgm:choose name="Name123">
                    <dgm:if name="Name124" func="var" arg="dir" op="equ" val="norm">
                      <dgm:choose name="Name125">
                        <dgm:if name="Name12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2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28">
                      <dgm:choose name="Name129">
                        <dgm:if name="Name13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3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32">
                    <dgm:if name="Name13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3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else name="Name135">
            <dgm:layoutNode name="arrowDiagram5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136">
                <dgm:if name="Name137" func="var" arg="dir" op="equ" val="norm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l" for="ch" forName="textBox5a" refType="ctrX" refFor="ch" refForName="bullet5a"/>
                    <dgm:constr type="t" for="ch" forName="textBox5a" refType="ctrY" refFor="ch" refForName="bullet5a"/>
                    <dgm:constr type="w" for="ch" forName="textBox5a" refType="w" fact="0.131"/>
                    <dgm:constr type="h" for="ch" forName="textBox5a" refType="h" fact="0.238"/>
                    <dgm:constr type="userA" refType="h" refFor="ch" refForName="bullet5a" fact="0.53"/>
                    <dgm:constr type="l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l" for="ch" forName="textBox5b" refType="ctrX" refFor="ch" refForName="bullet5b"/>
                    <dgm:constr type="t" for="ch" forName="textBox5b" refType="ctrY" refFor="ch" refForName="bullet5b"/>
                    <dgm:constr type="w" for="ch" forName="textBox5b" refType="w" fact="0.166"/>
                    <dgm:constr type="h" for="ch" forName="textBox5b" refType="h" fact="0.419"/>
                    <dgm:constr type="userB" refType="h" refFor="ch" refForName="bullet5b" fact="0.53"/>
                    <dgm:constr type="l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l" for="ch" forName="textBox5c" refType="ctrX" refFor="ch" refForName="bullet5c"/>
                    <dgm:constr type="t" for="ch" forName="textBox5c" refType="ctrY" refFor="ch" refForName="bullet5c"/>
                    <dgm:constr type="w" for="ch" forName="textBox5c" refType="w" fact="0.193"/>
                    <dgm:constr type="h" for="ch" forName="textBox5c" refType="h" fact="0.562"/>
                    <dgm:constr type="userC" refType="h" refFor="ch" refForName="bullet5c" fact="0.53"/>
                    <dgm:constr type="l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l" for="ch" forName="textBox5d" refType="ctrX" refFor="ch" refForName="bullet5d"/>
                    <dgm:constr type="t" for="ch" forName="textBox5d" refType="ctrY" refFor="ch" refForName="bullet5d"/>
                    <dgm:constr type="w" for="ch" forName="textBox5d" refType="w" fact="0.2"/>
                    <dgm:constr type="h" for="ch" forName="textBox5d" refType="h" fact="0.67"/>
                    <dgm:constr type="userD" refType="h" refFor="ch" refForName="bullet5d" fact="0.53"/>
                    <dgm:constr type="l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l" for="ch" forName="textBox5e" refType="ctrX" refFor="ch" refForName="bullet5e"/>
                    <dgm:constr type="t" for="ch" forName="textBox5e" refType="ctrY" refFor="ch" refForName="bullet5e"/>
                    <dgm:constr type="w" for="ch" forName="textBox5e" refType="w" fact="0.2"/>
                    <dgm:constr type="h" for="ch" forName="textBox5e" refType="h" fact="0.736"/>
                    <dgm:constr type="userE" refType="h" refFor="ch" refForName="bullet5e" fact="0.53"/>
                    <dgm:constr type="lMarg" for="ch" forName="textBox5e" refType="userE" fact="2.834"/>
                    <dgm:constr type="primFontSz" for="ch" ptType="node" op="equ" val="65"/>
                  </dgm:constrLst>
                </dgm:if>
                <dgm:else name="Name138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r" for="ch" forName="textBox5a" refType="ctrX" refFor="ch" refForName="bullet5a"/>
                    <dgm:constr type="b" for="ch" forName="textBox5a" refType="ctrY" refFor="ch" refForName="bullet5a"/>
                    <dgm:constr type="w" for="ch" forName="textBox5a" refType="w" fact="0.11"/>
                    <dgm:constr type="h" for="ch" forName="textBox5a" refType="h" fact="0.762"/>
                    <dgm:constr type="userA" refType="h" refFor="ch" refForName="bullet5a" fact="0.53"/>
                    <dgm:constr type="r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r" for="ch" forName="textBox5b" refType="ctrX" refFor="ch" refForName="bullet5b"/>
                    <dgm:constr type="b" for="ch" forName="textBox5b" refType="ctrY" refFor="ch" refForName="bullet5b"/>
                    <dgm:constr type="w" for="ch" forName="textBox5b" refType="w" fact="0.131"/>
                    <dgm:constr type="h" for="ch" forName="textBox5b" refType="h" fact="0.581"/>
                    <dgm:constr type="userB" refType="h" refFor="ch" refForName="bullet5b" fact="0.53"/>
                    <dgm:constr type="r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r" for="ch" forName="textBox5c" refType="ctrX" refFor="ch" refForName="bullet5c"/>
                    <dgm:constr type="b" for="ch" forName="textBox5c" refType="ctrY" refFor="ch" refForName="bullet5c"/>
                    <dgm:constr type="w" for="ch" forName="textBox5c" refType="w" fact="0.166"/>
                    <dgm:constr type="h" for="ch" forName="textBox5c" refType="h" fact="0.438"/>
                    <dgm:constr type="userC" refType="h" refFor="ch" refForName="bullet5c" fact="0.53"/>
                    <dgm:constr type="r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r" for="ch" forName="textBox5d" refType="ctrX" refFor="ch" refForName="bullet5d"/>
                    <dgm:constr type="b" for="ch" forName="textBox5d" refType="ctrY" refFor="ch" refForName="bullet5d"/>
                    <dgm:constr type="w" for="ch" forName="textBox5d" refType="w" fact="0.193"/>
                    <dgm:constr type="h" for="ch" forName="textBox5d" refType="h" fact="0.33"/>
                    <dgm:constr type="userD" refType="h" refFor="ch" refForName="bullet5d" fact="0.53"/>
                    <dgm:constr type="r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r" for="ch" forName="textBox5e" refType="ctrX" refFor="ch" refForName="bullet5e"/>
                    <dgm:constr type="b" for="ch" forName="textBox5e" refType="ctrY" refFor="ch" refForName="bullet5e"/>
                    <dgm:constr type="w" for="ch" forName="textBox5e" refType="w" fact="0.2"/>
                    <dgm:constr type="h" for="ch" forName="textBox5e" refType="h" fact="0.264"/>
                    <dgm:constr type="userE" refType="h" refFor="ch" refForName="bullet5e" fact="0.53"/>
                    <dgm:constr type="rMarg" for="ch" forName="textBox5e" refType="userE" fact="2.834"/>
                    <dgm:constr type="primFontSz" for="ch" ptType="node" op="equ" val="65"/>
                  </dgm:constrLst>
                </dgm:else>
              </dgm:choose>
              <dgm:ruleLst/>
              <dgm:forEach name="Name139" axis="ch" ptType="node" cnt="1">
                <dgm:layoutNode name="bullet5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a" styleLbl="revTx">
                  <dgm:varLst>
                    <dgm:bulletEnabled val="1"/>
                  </dgm:varLst>
                  <dgm:choose name="Name140">
                    <dgm:if name="Name141" func="var" arg="dir" op="equ" val="norm">
                      <dgm:choose name="Name142">
                        <dgm:if name="Name14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4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45">
                      <dgm:choose name="Name146">
                        <dgm:if name="Name14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4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49">
                    <dgm:if name="Name15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5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52" axis="ch" ptType="node" st="2" cnt="1">
                <dgm:layoutNode name="bullet5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b" styleLbl="revTx">
                  <dgm:varLst>
                    <dgm:bulletEnabled val="1"/>
                  </dgm:varLst>
                  <dgm:choose name="Name153">
                    <dgm:if name="Name154" func="var" arg="dir" op="equ" val="norm">
                      <dgm:choose name="Name155">
                        <dgm:if name="Name15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58">
                      <dgm:choose name="Name159">
                        <dgm:if name="Name16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6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62">
                    <dgm:if name="Name16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6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65" axis="ch" ptType="node" st="3" cnt="1">
                <dgm:layoutNode name="bullet5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c" styleLbl="revTx">
                  <dgm:varLst>
                    <dgm:bulletEnabled val="1"/>
                  </dgm:varLst>
                  <dgm:choose name="Name166">
                    <dgm:if name="Name167" func="var" arg="dir" op="equ" val="norm">
                      <dgm:choose name="Name168">
                        <dgm:if name="Name169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70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71">
                      <dgm:choose name="Name172">
                        <dgm:if name="Name173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74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75">
                    <dgm:if name="Name176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77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78" axis="ch" ptType="node" st="4" cnt="1">
                <dgm:layoutNode name="bullet5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d" styleLbl="revTx">
                  <dgm:varLst>
                    <dgm:bulletEnabled val="1"/>
                  </dgm:varLst>
                  <dgm:choose name="Name179">
                    <dgm:if name="Name180" func="var" arg="dir" op="equ" val="norm">
                      <dgm:choose name="Name181">
                        <dgm:if name="Name182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83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84">
                      <dgm:choose name="Name185">
                        <dgm:if name="Name186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87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88">
                    <dgm:if name="Name189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90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91" axis="ch" ptType="node" st="5" cnt="1">
                <dgm:layoutNode name="bullet5e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e" styleLbl="revTx">
                  <dgm:varLst>
                    <dgm:bulletEnabled val="1"/>
                  </dgm:varLst>
                  <dgm:choose name="Name192">
                    <dgm:if name="Name193" func="var" arg="dir" op="equ" val="norm">
                      <dgm:choose name="Name194">
                        <dgm:if name="Name195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96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97">
                      <dgm:choose name="Name198">
                        <dgm:if name="Name199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200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1">
                    <dgm:if name="Name202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03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else>
        </dgm:choose>
      </dgm:if>
      <dgm:else name="Name204"/>
    </dgm:choose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radial6">
  <dgm:title val=""/>
  <dgm:desc val=""/>
  <dgm:catLst>
    <dgm:cat type="cycle" pri="9000"/>
    <dgm:cat type="relationship" pri="2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choose name="Name3">
          <dgm:if name="Name4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5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6">
        <dgm:choose name="Name7">
          <dgm:if name="Name8" axis="ch ch" ptType="node node" st="1 1" cnt="1 0" func="cnt" op="lte" val="1">
            <dgm:alg type="cycle">
              <dgm:param type="stAng" val="-90"/>
              <dgm:param type="spanAng" val="360"/>
              <dgm:param type="ctrShpMap" val="fNode"/>
            </dgm:alg>
          </dgm:if>
          <dgm:else name="Name9">
            <dgm:alg type="cycle">
              <dgm:param type="stAng" val="0"/>
              <dgm:param type="spanAng" val="-360"/>
              <dgm:param type="ctrShpMap" val="fNode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10">
      <dgm:if name="Name11" func="var" arg="dir" op="equ" val="norm">
        <dgm:choose name="Name12">
          <dgm:if name="Name13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des" forName="oneNode" refType="primFontSz" refFor="ch" refForName="centerShape" op="lte" fact="0.95"/>
              <dgm:constr type="diam" for="ch" forName="singleconn" refType="diam" op="equ" fact="-1"/>
              <dgm:constr type="h" for="ch" forName="singleconn" refType="w" refFor="ch" refForName="oneComp" fact="0.24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4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forName="sibTrans" refType="diam" op="equ"/>
              <dgm:constr type="h" for="ch" forName="sibTrans" refType="w" refFor="ch" refForName="node" fact="0.24"/>
              <dgm:constr type="w" for="ch" forName="dummy" val="1"/>
            </dgm:constrLst>
          </dgm:else>
        </dgm:choose>
      </dgm:if>
      <dgm:else name="Name15">
        <dgm:choose name="Name16">
          <dgm:if name="Name17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ch" forName="oneNode" refType="primFontSz" refFor="ch" refForName="centerShape" op="lte" fact="0.95"/>
              <dgm:constr type="diam" for="ch" forName="singleconn" refType="diam"/>
              <dgm:constr type="h" for="ch" forName="singleconn" refType="w" refFor="ch" refForName="oneComp" fact="0.24"/>
              <dgm:constr type="diam" for="ch" refType="diam" op="equ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8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ptType="sibTrans" refType="diam" fact="-1"/>
              <dgm:constr type="h" for="ch" forName="sibTrans" refType="w" refFor="ch" refForName="node" fact="0.24"/>
              <dgm:constr type="diam" for="ch" refType="diam" op="equ" fact="-1"/>
              <dgm:constr type="w" for="ch" forName="dummy" val="1"/>
            </dgm:constrLst>
          </dgm:else>
        </dgm:choose>
      </dgm:else>
    </dgm:choose>
    <dgm:ruleLst>
      <dgm:rule type="diam" val="INF" fact="NaN" max="NaN"/>
    </dgm:ruleLst>
    <dgm:forEach name="Name19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20" axis="ch">
        <dgm:forEach name="Name21" axis="self" ptType="node">
          <dgm:choose name="Name22">
            <dgm:if name="Name23" axis="par ch" ptType="node node" func="cnt" op="gt" val="1">
              <dgm:layoutNode name="node" styleLbl="node1">
                <dgm:varLst>
                  <dgm:bulletEnabled val="1"/>
                </dgm:varLst>
                <dgm:alg type="tx">
                  <dgm:param type="txAnchorVertCh" val="mid"/>
                </dgm:alg>
                <dgm:shape xmlns:r="http://schemas.openxmlformats.org/officeDocument/2006/relationships" type="ellipse" r:blip="">
                  <dgm:adjLst/>
                </dgm:shape>
                <dgm:presOf axis="desOrSelf" ptType="node"/>
                <dgm:constrLst>
                  <dgm:constr type="h" refType="w"/>
                  <dgm:constr type="tMarg" refType="primFontSz" fact="0.1"/>
                  <dgm:constr type="bMarg" refType="primFontSz" fact="0.1"/>
                  <dgm:constr type="lMarg" refType="primFontSz" fact="0.1"/>
                  <dgm:constr type="rMarg" refType="primFontSz" fact="0.1"/>
                </dgm:constrLst>
                <dgm:ruleLst>
                  <dgm:rule type="primFontSz" val="5" fact="NaN" max="NaN"/>
                </dgm:ruleLst>
              </dgm:layoutNode>
              <dgm:layoutNode name="dummy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" axis="followSib" ptType="sibTrans" hideLastTrans="0" cnt="1">
                <dgm:layoutNode name="sibTrans" styleLbl="sibTrans2D1">
                  <dgm:alg type="conn">
                    <dgm:param type="connRout" val="curve"/>
                    <dgm:param type="begPts" val="ctr"/>
                    <dgm:param type="endPts" val="ctr"/>
                    <dgm:param type="begSty" val="noArr"/>
                    <dgm:param type="endSty" val="noArr"/>
                    <dgm:param type="dstNode" val="node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if name="Name24" axis="par ch" ptType="node node" func="cnt" op="equ" val="1">
              <dgm:layoutNode name="oneComp">
                <dgm:alg type="composite">
                  <dgm:param type="ar" val="1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  <dgm:constr type="l" for="ch" forName="dummyConnPt" refType="w" fact="0.5"/>
                  <dgm:constr type="t" for="ch" forName="dummyConnPt" refType="w" fact="0.5"/>
                  <dgm:constr type="l" for="ch" forName="oneNode"/>
                  <dgm:constr type="t" for="ch" forName="oneNode"/>
                  <dgm:constr type="h" for="ch" forName="oneNode" refType="h"/>
                  <dgm:constr type="w" for="ch" forName="oneNode" refType="w"/>
                </dgm:constrLst>
                <dgm:ruleLst/>
                <dgm:layoutNode name="dummyConnPt" styleLbl="node1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val="1"/>
                    <dgm:constr type="h" val="1"/>
                  </dgm:constrLst>
                  <dgm:ruleLst/>
                </dgm:layoutNode>
                <dgm:layoutNode name="oneNode" styleLbl="node1">
                  <dgm:varLst>
                    <dgm:bulletEnabled val="1"/>
                  </dgm:varLst>
                  <dgm:alg type="tx">
                    <dgm:param type="txAnchorVertCh" val="mid"/>
                  </dgm:alg>
                  <dgm:shape xmlns:r="http://schemas.openxmlformats.org/officeDocument/2006/relationships" type="ellipse" r:blip="">
                    <dgm:adjLst/>
                  </dgm:shape>
                  <dgm:presOf axis="desOrSelf" ptType="node"/>
                  <dgm:constrLst>
                    <dgm:constr type="h" refType="w"/>
                    <dgm:constr type="tMarg" refType="primFontSz" fact="0.1"/>
                    <dgm:constr type="bMarg" refType="primFontSz" fact="0.1"/>
                    <dgm:constr type="lMarg" refType="primFontSz" fact="0.1"/>
                    <dgm:constr type="rMarg" refType="primFontSz" fact="0.1"/>
                  </dgm:constrLst>
                  <dgm:ruleLst>
                    <dgm:rule type="primFontSz" val="5" fact="NaN" max="NaN"/>
                  </dgm:ruleLst>
                </dgm:layoutNode>
              </dgm:layoutNode>
              <dgm:layoutNode name="dummya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b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c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1" axis="followSib" ptType="sibTrans" hideLastTrans="0" cnt="1">
                <dgm:layoutNode name="singleconn" styleLbl="sibTrans2D1">
                  <dgm:alg type="conn">
                    <dgm:param type="connRout" val="longCurve"/>
                    <dgm:param type="begPts" val="bCtr"/>
                    <dgm:param type="endPts" val="tCtr"/>
                    <dgm:param type="begSty" val="noArr"/>
                    <dgm:param type="endSty" val="noArr"/>
                    <dgm:param type="srcNode" val="dummyConnPt"/>
                    <dgm:param type="dstNode" val="dummyConnPt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else name="Name25"/>
          </dgm:choose>
        </dgm:forEach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0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822950" y="8640000"/>
            <a:ext cx="471600" cy="280800"/>
          </a:xfrm>
          <a:prstGeom prst="rect">
            <a:avLst/>
          </a:prstGeom>
        </p:spPr>
        <p:txBody>
          <a:bodyPr vert="horz" lIns="0" tIns="45720" rIns="0" bIns="45720" rtlCol="0" anchor="b"/>
          <a:lstStyle>
            <a:lvl1pPr algn="r">
              <a:defRPr sz="1200"/>
            </a:lvl1pPr>
          </a:lstStyle>
          <a:p>
            <a:fld id="{A7E515CE-432D-4663-9EC7-909C3633A725}" type="slidenum">
              <a:rPr lang="de-DE" smtClean="0">
                <a:latin typeface="Tele-GroteskNor" pitchFamily="2" charset="0"/>
              </a:rPr>
              <a:pPr/>
              <a:t>‹#›</a:t>
            </a:fld>
            <a:endParaRPr lang="de-DE" dirty="0">
              <a:latin typeface="Tele-GroteskNor" pitchFamily="2" charset="0"/>
            </a:endParaRPr>
          </a:p>
        </p:txBody>
      </p:sp>
      <p:pic>
        <p:nvPicPr>
          <p:cNvPr id="32" name="Grafik 31" descr="TSY_Logo_3c_p.emf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9750" y="238125"/>
            <a:ext cx="2516882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3313548"/>
      </p:ext>
    </p:extLst>
  </p:cSld>
  <p:clrMap bg1="lt1" tx1="dk1" bg2="lt2" tx2="dk2" accent1="accent1" accent2="accent2" accent3="accent3" accent4="accent4" accent5="accent5" accent6="accent6" hlink="hlink" folHlink="folHlink"/>
  <p:hf hdr="0"/>
  <p:extLst mod="1">
    <p:ext uri="{56416CCD-93CA-4268-BC5B-53C4BB910035}">
      <p15:sldGuideLst xmlns:p15="http://schemas.microsoft.com/office/powerpoint/2012/main" xmlns="">
        <p15:guide id="1" pos="340" userDrawn="1">
          <p15:clr>
            <a:srgbClr val="F26B43"/>
          </p15:clr>
        </p15:guide>
        <p15:guide id="2" pos="3969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216025" y="371475"/>
            <a:ext cx="4425950" cy="33194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78800" y="3876675"/>
            <a:ext cx="5900400" cy="458152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 err="1" smtClean="0"/>
              <a:t>Textmasterformate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2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3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4"/>
            <a:r>
              <a:rPr lang="en-US" dirty="0" err="1" smtClean="0"/>
              <a:t>Fünf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907600" y="8640000"/>
            <a:ext cx="471600" cy="2808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latin typeface="Tele-GroteskNor" pitchFamily="2" charset="0"/>
              </a:defRPr>
            </a:lvl1pPr>
          </a:lstStyle>
          <a:p>
            <a:fld id="{76E97663-D53D-4421-A2F3-0C076A0529F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6344682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indent="0" algn="l" defTabSz="1152144" rtl="0" eaLnBrk="1" latinLnBrk="0" hangingPunct="1">
      <a:lnSpc>
        <a:spcPct val="90000"/>
      </a:lnSpc>
      <a:spcBef>
        <a:spcPts val="400"/>
      </a:spcBef>
      <a:buClr>
        <a:schemeClr val="tx2"/>
      </a:buClr>
      <a:buSzPct val="75000"/>
      <a:buFont typeface="Wingdings" pitchFamily="2" charset="2"/>
      <a:buNone/>
      <a:defRPr sz="1000" kern="1200">
        <a:solidFill>
          <a:schemeClr val="tx1"/>
        </a:solidFill>
        <a:latin typeface="Tele-GroteskFet" pitchFamily="2" charset="0"/>
        <a:ea typeface="+mn-ea"/>
        <a:cs typeface="+mn-cs"/>
      </a:defRPr>
    </a:lvl1pPr>
    <a:lvl2pPr marL="0" indent="0" algn="l" defTabSz="1152144" rtl="0" eaLnBrk="1" latinLnBrk="0" hangingPunct="1">
      <a:lnSpc>
        <a:spcPct val="90000"/>
      </a:lnSpc>
      <a:spcBef>
        <a:spcPts val="400"/>
      </a:spcBef>
      <a:buClr>
        <a:schemeClr val="tx2"/>
      </a:buClr>
      <a:buSzPct val="75000"/>
      <a:buFont typeface="Wingdings" pitchFamily="2" charset="2"/>
      <a:buNone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2pPr>
    <a:lvl3pPr marL="85725" indent="-85725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3pPr>
    <a:lvl4pPr marL="180975" indent="-95250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4pPr>
    <a:lvl5pPr marL="266700" indent="-85725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5pPr>
    <a:lvl6pPr marL="2880360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3456432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4032504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4608576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216025" y="371475"/>
            <a:ext cx="4425950" cy="33194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588554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91080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91080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91080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91080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91080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91080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7800" lvl="1" indent="-176213" defTabSz="914400">
              <a:lnSpc>
                <a:spcPct val="90000"/>
              </a:lnSpc>
              <a:spcBef>
                <a:spcPct val="25000"/>
              </a:spcBef>
              <a:buFont typeface="Wingdings" pitchFamily="2" charset="2"/>
              <a:buChar char="§"/>
            </a:pPr>
            <a:endParaRPr lang="en-US" sz="1600" dirty="0" smtClean="0">
              <a:latin typeface="Tele-GroteskNor" pitchFamily="2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359267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sz="100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640609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763725" y="9381000"/>
            <a:ext cx="1091910" cy="304883"/>
          </a:xfrm>
          <a:prstGeom prst="rect">
            <a:avLst/>
          </a:prstGeom>
        </p:spPr>
        <p:txBody>
          <a:bodyPr/>
          <a:lstStyle/>
          <a:p>
            <a:fld id="{92992318-D650-495C-8022-F1C4EE419B49}" type="datetimeFigureOut">
              <a:rPr lang="en-US" smtClean="0"/>
              <a:pPr/>
              <a:t>10/9/2018</a:t>
            </a:fld>
            <a:endParaRPr lang="en-US" dirty="0"/>
          </a:p>
        </p:txBody>
      </p:sp>
      <p:sp>
        <p:nvSpPr>
          <p:cNvPr id="493570" name="Rectangle 3"/>
          <p:cNvSpPr txBox="1">
            <a:spLocks noGrp="1" noChangeArrowheads="1"/>
          </p:cNvSpPr>
          <p:nvPr/>
        </p:nvSpPr>
        <p:spPr bwMode="auto">
          <a:xfrm>
            <a:off x="4251589" y="363436"/>
            <a:ext cx="2007989" cy="1262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 defTabSz="448812" eaLnBrk="0" hangingPunct="0">
              <a:lnSpc>
                <a:spcPct val="68000"/>
              </a:lnSpc>
              <a:spcBef>
                <a:spcPct val="0"/>
              </a:spcBef>
              <a:buClr>
                <a:srgbClr val="FFFFFF"/>
              </a:buClr>
              <a:buSzPct val="100000"/>
            </a:pPr>
            <a:r>
              <a:rPr lang="en-US" sz="600">
                <a:latin typeface="Tele-GroteskNor" pitchFamily="2" charset="0"/>
                <a:cs typeface="Arial Unicode MS"/>
              </a:rPr>
              <a:t>13.08.2007</a:t>
            </a:r>
            <a:endParaRPr lang="en-US" sz="600" dirty="0">
              <a:latin typeface="Tele-GroteskNor" pitchFamily="2" charset="0"/>
              <a:cs typeface="Arial Unicode MS"/>
            </a:endParaRPr>
          </a:p>
        </p:txBody>
      </p:sp>
      <p:sp>
        <p:nvSpPr>
          <p:cNvPr id="493571" name="Rectangle 5"/>
          <p:cNvSpPr txBox="1">
            <a:spLocks noGrp="1" noChangeArrowheads="1"/>
          </p:cNvSpPr>
          <p:nvPr/>
        </p:nvSpPr>
        <p:spPr bwMode="auto">
          <a:xfrm>
            <a:off x="4251589" y="549773"/>
            <a:ext cx="2007989" cy="1308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algn="r" defTabSz="448812" eaLnBrk="0" hangingPunct="0">
              <a:lnSpc>
                <a:spcPct val="68000"/>
              </a:lnSpc>
              <a:spcBef>
                <a:spcPct val="0"/>
              </a:spcBef>
              <a:buClr>
                <a:srgbClr val="FFFFFF"/>
              </a:buClr>
              <a:buSzPct val="100000"/>
            </a:pPr>
            <a:fld id="{DB84B6E7-C4E1-47D2-BA21-6764EBC8AB71}" type="slidenum">
              <a:rPr lang="en-US" sz="600" smtClean="0">
                <a:latin typeface="Tele-GroteskNor" pitchFamily="2" charset="0"/>
                <a:cs typeface="Arial Unicode MS"/>
              </a:rPr>
              <a:pPr algn="r" defTabSz="448812" eaLnBrk="0" hangingPunct="0">
                <a:lnSpc>
                  <a:spcPct val="68000"/>
                </a:lnSpc>
                <a:spcBef>
                  <a:spcPct val="0"/>
                </a:spcBef>
                <a:buClr>
                  <a:srgbClr val="FFFFFF"/>
                </a:buClr>
                <a:buSzPct val="100000"/>
              </a:pPr>
              <a:t>18</a:t>
            </a:fld>
            <a:endParaRPr lang="en-US" sz="600" dirty="0">
              <a:latin typeface="Tele-GroteskNor" pitchFamily="2" charset="0"/>
              <a:cs typeface="Arial Unicode MS"/>
            </a:endParaRPr>
          </a:p>
        </p:txBody>
      </p:sp>
      <p:sp>
        <p:nvSpPr>
          <p:cNvPr id="493572" name="Rectangle 10"/>
          <p:cNvSpPr txBox="1">
            <a:spLocks noGrp="1" noChangeArrowheads="1"/>
          </p:cNvSpPr>
          <p:nvPr/>
        </p:nvSpPr>
        <p:spPr bwMode="auto">
          <a:xfrm>
            <a:off x="4251589" y="457373"/>
            <a:ext cx="2007989" cy="1278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r" defTabSz="448812" eaLnBrk="0" hangingPunct="0">
              <a:lnSpc>
                <a:spcPct val="68000"/>
              </a:lnSpc>
              <a:spcBef>
                <a:spcPct val="0"/>
              </a:spcBef>
              <a:buClr>
                <a:srgbClr val="FFFFFF"/>
              </a:buClr>
              <a:buSzPct val="100000"/>
            </a:pPr>
            <a:r>
              <a:rPr lang="en-US" sz="600">
                <a:latin typeface="Tele-GroteskNor" pitchFamily="2" charset="0"/>
                <a:cs typeface="Arial Unicode MS"/>
              </a:rPr>
              <a:t>Autor / Thema der Präsentation</a:t>
            </a:r>
            <a:endParaRPr lang="en-US" sz="600" dirty="0">
              <a:latin typeface="Tele-GroteskNor" pitchFamily="2" charset="0"/>
              <a:cs typeface="Arial Unicode MS"/>
            </a:endParaRPr>
          </a:p>
        </p:txBody>
      </p:sp>
      <p:sp>
        <p:nvSpPr>
          <p:cNvPr id="493573" name="Rectangle 8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41363" y="820738"/>
            <a:ext cx="5314950" cy="3987800"/>
          </a:xfrm>
          <a:noFill/>
          <a:ln>
            <a:miter lim="800000"/>
            <a:headEnd/>
            <a:tailEnd/>
          </a:ln>
        </p:spPr>
      </p:sp>
      <p:sp>
        <p:nvSpPr>
          <p:cNvPr id="493574" name="Rectangle 9"/>
          <p:cNvSpPr>
            <a:spLocks noGrp="1" noChangeArrowheads="1"/>
          </p:cNvSpPr>
          <p:nvPr>
            <p:ph type="body" idx="1"/>
          </p:nvPr>
        </p:nvSpPr>
        <p:spPr>
          <a:xfrm>
            <a:off x="541139" y="4964883"/>
            <a:ext cx="5718438" cy="4599908"/>
          </a:xfrm>
          <a:noFill/>
        </p:spPr>
        <p:txBody>
          <a:bodyPr lIns="91563" tIns="45781" rIns="91563" bIns="45781"/>
          <a:lstStyle/>
          <a:p>
            <a:pPr marL="174623" indent="-174623" defTabSz="882305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163185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763725" y="9381000"/>
            <a:ext cx="1091910" cy="304883"/>
          </a:xfrm>
          <a:prstGeom prst="rect">
            <a:avLst/>
          </a:prstGeom>
        </p:spPr>
        <p:txBody>
          <a:bodyPr/>
          <a:lstStyle/>
          <a:p>
            <a:fld id="{92992318-D650-495C-8022-F1C4EE419B49}" type="datetimeFigureOut">
              <a:rPr lang="en-US" smtClean="0"/>
              <a:pPr/>
              <a:t>10/9/2018</a:t>
            </a:fld>
            <a:endParaRPr lang="en-US" dirty="0"/>
          </a:p>
        </p:txBody>
      </p:sp>
      <p:sp>
        <p:nvSpPr>
          <p:cNvPr id="493570" name="Rectangle 3"/>
          <p:cNvSpPr txBox="1">
            <a:spLocks noGrp="1" noChangeArrowheads="1"/>
          </p:cNvSpPr>
          <p:nvPr/>
        </p:nvSpPr>
        <p:spPr bwMode="auto">
          <a:xfrm>
            <a:off x="4251589" y="363436"/>
            <a:ext cx="2007989" cy="1262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 defTabSz="448812" eaLnBrk="0" hangingPunct="0">
              <a:lnSpc>
                <a:spcPct val="68000"/>
              </a:lnSpc>
              <a:spcBef>
                <a:spcPct val="0"/>
              </a:spcBef>
              <a:buClr>
                <a:srgbClr val="FFFFFF"/>
              </a:buClr>
              <a:buSzPct val="100000"/>
            </a:pPr>
            <a:r>
              <a:rPr lang="en-US" sz="600">
                <a:latin typeface="Tele-GroteskNor" pitchFamily="2" charset="0"/>
                <a:cs typeface="Arial Unicode MS"/>
              </a:rPr>
              <a:t>13.08.2007</a:t>
            </a:r>
            <a:endParaRPr lang="en-US" sz="600" dirty="0">
              <a:latin typeface="Tele-GroteskNor" pitchFamily="2" charset="0"/>
              <a:cs typeface="Arial Unicode MS"/>
            </a:endParaRPr>
          </a:p>
        </p:txBody>
      </p:sp>
      <p:sp>
        <p:nvSpPr>
          <p:cNvPr id="493571" name="Rectangle 5"/>
          <p:cNvSpPr txBox="1">
            <a:spLocks noGrp="1" noChangeArrowheads="1"/>
          </p:cNvSpPr>
          <p:nvPr/>
        </p:nvSpPr>
        <p:spPr bwMode="auto">
          <a:xfrm>
            <a:off x="4251589" y="549773"/>
            <a:ext cx="2007989" cy="1308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algn="r" defTabSz="448812" eaLnBrk="0" hangingPunct="0">
              <a:lnSpc>
                <a:spcPct val="68000"/>
              </a:lnSpc>
              <a:spcBef>
                <a:spcPct val="0"/>
              </a:spcBef>
              <a:buClr>
                <a:srgbClr val="FFFFFF"/>
              </a:buClr>
              <a:buSzPct val="100000"/>
            </a:pPr>
            <a:fld id="{DB84B6E7-C4E1-47D2-BA21-6764EBC8AB71}" type="slidenum">
              <a:rPr lang="en-US" sz="600" smtClean="0">
                <a:latin typeface="Tele-GroteskNor" pitchFamily="2" charset="0"/>
                <a:cs typeface="Arial Unicode MS"/>
              </a:rPr>
              <a:pPr algn="r" defTabSz="448812" eaLnBrk="0" hangingPunct="0">
                <a:lnSpc>
                  <a:spcPct val="68000"/>
                </a:lnSpc>
                <a:spcBef>
                  <a:spcPct val="0"/>
                </a:spcBef>
                <a:buClr>
                  <a:srgbClr val="FFFFFF"/>
                </a:buClr>
                <a:buSzPct val="100000"/>
              </a:pPr>
              <a:t>19</a:t>
            </a:fld>
            <a:endParaRPr lang="en-US" sz="600" dirty="0">
              <a:latin typeface="Tele-GroteskNor" pitchFamily="2" charset="0"/>
              <a:cs typeface="Arial Unicode MS"/>
            </a:endParaRPr>
          </a:p>
        </p:txBody>
      </p:sp>
      <p:sp>
        <p:nvSpPr>
          <p:cNvPr id="493572" name="Rectangle 10"/>
          <p:cNvSpPr txBox="1">
            <a:spLocks noGrp="1" noChangeArrowheads="1"/>
          </p:cNvSpPr>
          <p:nvPr/>
        </p:nvSpPr>
        <p:spPr bwMode="auto">
          <a:xfrm>
            <a:off x="4251589" y="457373"/>
            <a:ext cx="2007989" cy="1278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r" defTabSz="448812" eaLnBrk="0" hangingPunct="0">
              <a:lnSpc>
                <a:spcPct val="68000"/>
              </a:lnSpc>
              <a:spcBef>
                <a:spcPct val="0"/>
              </a:spcBef>
              <a:buClr>
                <a:srgbClr val="FFFFFF"/>
              </a:buClr>
              <a:buSzPct val="100000"/>
            </a:pPr>
            <a:r>
              <a:rPr lang="en-US" sz="600">
                <a:latin typeface="Tele-GroteskNor" pitchFamily="2" charset="0"/>
                <a:cs typeface="Arial Unicode MS"/>
              </a:rPr>
              <a:t>Autor / Thema der Präsentation</a:t>
            </a:r>
            <a:endParaRPr lang="en-US" sz="600" dirty="0">
              <a:latin typeface="Tele-GroteskNor" pitchFamily="2" charset="0"/>
              <a:cs typeface="Arial Unicode MS"/>
            </a:endParaRPr>
          </a:p>
        </p:txBody>
      </p:sp>
      <p:sp>
        <p:nvSpPr>
          <p:cNvPr id="493573" name="Rectangle 8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41363" y="820738"/>
            <a:ext cx="5314950" cy="3987800"/>
          </a:xfrm>
          <a:noFill/>
          <a:ln>
            <a:miter lim="800000"/>
            <a:headEnd/>
            <a:tailEnd/>
          </a:ln>
        </p:spPr>
      </p:sp>
      <p:sp>
        <p:nvSpPr>
          <p:cNvPr id="493574" name="Rectangle 9"/>
          <p:cNvSpPr>
            <a:spLocks noGrp="1" noChangeArrowheads="1"/>
          </p:cNvSpPr>
          <p:nvPr>
            <p:ph type="body" idx="1"/>
          </p:nvPr>
        </p:nvSpPr>
        <p:spPr>
          <a:xfrm>
            <a:off x="541139" y="4964883"/>
            <a:ext cx="5718438" cy="4599908"/>
          </a:xfrm>
          <a:noFill/>
        </p:spPr>
        <p:txBody>
          <a:bodyPr lIns="91563" tIns="45781" rIns="91563" bIns="45781"/>
          <a:lstStyle/>
          <a:p>
            <a:pPr marL="174623" indent="-174623" defTabSz="882305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163185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204482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Clr>
                <a:schemeClr val="tx2"/>
              </a:buClr>
              <a:buFont typeface="Wingdings" panose="05000000000000000000" pitchFamily="2" charset="2"/>
              <a:buNone/>
            </a:pPr>
            <a:endParaRPr lang="hu-HU" sz="1000" b="0" i="0" kern="1200" baseline="0" dirty="0" smtClean="0">
              <a:solidFill>
                <a:schemeClr val="tx1"/>
              </a:solidFill>
              <a:effectLst/>
              <a:latin typeface="Tele-GroteskFet" pitchFamily="2" charset="0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385591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878008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586461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325119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594107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204482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204482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204482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204482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334015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1152144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  <a:defRPr/>
            </a:pPr>
            <a:endParaRPr lang="hu-HU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733607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sz="1000" b="0" i="0" kern="1200" dirty="0" smtClean="0">
              <a:solidFill>
                <a:schemeClr val="tx1"/>
              </a:solidFill>
              <a:effectLst/>
              <a:latin typeface="Tele-GroteskFet" pitchFamily="2" charset="0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38500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emf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4.xml"/><Relationship Id="rId7" Type="http://schemas.openxmlformats.org/officeDocument/2006/relationships/image" Target="../media/image14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11" Type="http://schemas.openxmlformats.org/officeDocument/2006/relationships/image" Target="../media/image16.emf"/><Relationship Id="rId5" Type="http://schemas.openxmlformats.org/officeDocument/2006/relationships/tags" Target="../tags/tag6.xml"/><Relationship Id="rId10" Type="http://schemas.openxmlformats.org/officeDocument/2006/relationships/image" Target="../media/image15.emf"/><Relationship Id="rId4" Type="http://schemas.openxmlformats.org/officeDocument/2006/relationships/tags" Target="../tags/tag5.xml"/><Relationship Id="rId9" Type="http://schemas.openxmlformats.org/officeDocument/2006/relationships/image" Target="../media/image13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8.jpeg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360000"/>
            <a:ext cx="9396774" cy="2026491"/>
          </a:xfrm>
        </p:spPr>
        <p:txBody>
          <a:bodyPr/>
          <a:lstStyle>
            <a:lvl1pPr>
              <a:defRPr sz="75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Headline Ultra </a:t>
            </a:r>
            <a:br>
              <a:rPr lang="en-US" dirty="0" smtClean="0"/>
            </a:br>
            <a:r>
              <a:rPr lang="en-US" dirty="0" smtClean="0"/>
              <a:t>60 (75) 90 PT</a:t>
            </a:r>
            <a:endParaRPr lang="en-US" dirty="0"/>
          </a:p>
        </p:txBody>
      </p:sp>
      <p:sp>
        <p:nvSpPr>
          <p:cNvPr id="34" name="Textplatzhalter 2"/>
          <p:cNvSpPr>
            <a:spLocks noGrp="1"/>
          </p:cNvSpPr>
          <p:nvPr>
            <p:ph type="body" sz="quarter" idx="10" hasCustomPrompt="1"/>
          </p:nvPr>
        </p:nvSpPr>
        <p:spPr bwMode="black">
          <a:xfrm>
            <a:off x="360000" y="3780000"/>
            <a:ext cx="9432924" cy="512090"/>
          </a:xfrm>
          <a:noFill/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 smtClean="0"/>
              <a:t>Sub-heading: Tele-</a:t>
            </a:r>
            <a:r>
              <a:rPr lang="en-US" dirty="0" err="1" smtClean="0"/>
              <a:t>GroteskFet</a:t>
            </a:r>
            <a:r>
              <a:rPr lang="en-US" dirty="0" smtClean="0"/>
              <a:t> 18 </a:t>
            </a:r>
            <a:r>
              <a:rPr lang="en-US" dirty="0" err="1" smtClean="0"/>
              <a:t>pt</a:t>
            </a:r>
            <a:endParaRPr lang="en-US" dirty="0"/>
          </a:p>
        </p:txBody>
      </p:sp>
      <p:grpSp>
        <p:nvGrpSpPr>
          <p:cNvPr id="5" name="Gruppieren 4"/>
          <p:cNvGrpSpPr/>
          <p:nvPr userDrawn="1"/>
        </p:nvGrpSpPr>
        <p:grpSpPr>
          <a:xfrm>
            <a:off x="360363" y="6480175"/>
            <a:ext cx="5013325" cy="911226"/>
            <a:chOff x="360363" y="6480175"/>
            <a:chExt cx="5013325" cy="911226"/>
          </a:xfrm>
          <a:solidFill>
            <a:schemeClr val="bg1"/>
          </a:solidFill>
        </p:grpSpPr>
        <p:sp>
          <p:nvSpPr>
            <p:cNvPr id="6" name="Freeform 5"/>
            <p:cNvSpPr>
              <a:spLocks/>
            </p:cNvSpPr>
            <p:nvPr userDrawn="1"/>
          </p:nvSpPr>
          <p:spPr bwMode="auto">
            <a:xfrm>
              <a:off x="360363" y="6811963"/>
              <a:ext cx="146050" cy="147638"/>
            </a:xfrm>
            <a:custGeom>
              <a:avLst/>
              <a:gdLst>
                <a:gd name="T0" fmla="*/ 0 w 92"/>
                <a:gd name="T1" fmla="*/ 93 h 93"/>
                <a:gd name="T2" fmla="*/ 0 w 92"/>
                <a:gd name="T3" fmla="*/ 0 h 93"/>
                <a:gd name="T4" fmla="*/ 45 w 92"/>
                <a:gd name="T5" fmla="*/ 0 h 93"/>
                <a:gd name="T6" fmla="*/ 92 w 92"/>
                <a:gd name="T7" fmla="*/ 0 h 93"/>
                <a:gd name="T8" fmla="*/ 92 w 92"/>
                <a:gd name="T9" fmla="*/ 93 h 93"/>
                <a:gd name="T10" fmla="*/ 0 w 92"/>
                <a:gd name="T11" fmla="*/ 93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2" h="93">
                  <a:moveTo>
                    <a:pt x="0" y="93"/>
                  </a:moveTo>
                  <a:lnTo>
                    <a:pt x="0" y="0"/>
                  </a:lnTo>
                  <a:lnTo>
                    <a:pt x="45" y="0"/>
                  </a:lnTo>
                  <a:lnTo>
                    <a:pt x="92" y="0"/>
                  </a:lnTo>
                  <a:lnTo>
                    <a:pt x="92" y="93"/>
                  </a:lnTo>
                  <a:lnTo>
                    <a:pt x="0" y="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" name="Freeform 6"/>
            <p:cNvSpPr>
              <a:spLocks/>
            </p:cNvSpPr>
            <p:nvPr userDrawn="1"/>
          </p:nvSpPr>
          <p:spPr bwMode="auto">
            <a:xfrm>
              <a:off x="806451" y="6811963"/>
              <a:ext cx="144463" cy="147638"/>
            </a:xfrm>
            <a:custGeom>
              <a:avLst/>
              <a:gdLst>
                <a:gd name="T0" fmla="*/ 0 w 91"/>
                <a:gd name="T1" fmla="*/ 93 h 93"/>
                <a:gd name="T2" fmla="*/ 0 w 91"/>
                <a:gd name="T3" fmla="*/ 0 h 93"/>
                <a:gd name="T4" fmla="*/ 50 w 91"/>
                <a:gd name="T5" fmla="*/ 0 h 93"/>
                <a:gd name="T6" fmla="*/ 91 w 91"/>
                <a:gd name="T7" fmla="*/ 0 h 93"/>
                <a:gd name="T8" fmla="*/ 91 w 91"/>
                <a:gd name="T9" fmla="*/ 93 h 93"/>
                <a:gd name="T10" fmla="*/ 0 w 91"/>
                <a:gd name="T11" fmla="*/ 93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1" h="93">
                  <a:moveTo>
                    <a:pt x="0" y="93"/>
                  </a:moveTo>
                  <a:lnTo>
                    <a:pt x="0" y="0"/>
                  </a:lnTo>
                  <a:lnTo>
                    <a:pt x="50" y="0"/>
                  </a:lnTo>
                  <a:lnTo>
                    <a:pt x="91" y="0"/>
                  </a:lnTo>
                  <a:lnTo>
                    <a:pt x="91" y="93"/>
                  </a:lnTo>
                  <a:lnTo>
                    <a:pt x="0" y="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" name="Freeform 7"/>
            <p:cNvSpPr>
              <a:spLocks/>
            </p:cNvSpPr>
            <p:nvPr userDrawn="1"/>
          </p:nvSpPr>
          <p:spPr bwMode="auto">
            <a:xfrm>
              <a:off x="1244601" y="6811963"/>
              <a:ext cx="147638" cy="147638"/>
            </a:xfrm>
            <a:custGeom>
              <a:avLst/>
              <a:gdLst>
                <a:gd name="T0" fmla="*/ 0 w 93"/>
                <a:gd name="T1" fmla="*/ 93 h 93"/>
                <a:gd name="T2" fmla="*/ 0 w 93"/>
                <a:gd name="T3" fmla="*/ 0 h 93"/>
                <a:gd name="T4" fmla="*/ 47 w 93"/>
                <a:gd name="T5" fmla="*/ 0 h 93"/>
                <a:gd name="T6" fmla="*/ 93 w 93"/>
                <a:gd name="T7" fmla="*/ 0 h 93"/>
                <a:gd name="T8" fmla="*/ 93 w 93"/>
                <a:gd name="T9" fmla="*/ 93 h 93"/>
                <a:gd name="T10" fmla="*/ 0 w 93"/>
                <a:gd name="T11" fmla="*/ 93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3" h="93">
                  <a:moveTo>
                    <a:pt x="0" y="93"/>
                  </a:moveTo>
                  <a:lnTo>
                    <a:pt x="0" y="0"/>
                  </a:lnTo>
                  <a:lnTo>
                    <a:pt x="47" y="0"/>
                  </a:lnTo>
                  <a:lnTo>
                    <a:pt x="93" y="0"/>
                  </a:lnTo>
                  <a:lnTo>
                    <a:pt x="93" y="93"/>
                  </a:lnTo>
                  <a:lnTo>
                    <a:pt x="0" y="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" name="Freeform 8"/>
            <p:cNvSpPr>
              <a:spLocks/>
            </p:cNvSpPr>
            <p:nvPr userDrawn="1"/>
          </p:nvSpPr>
          <p:spPr bwMode="auto">
            <a:xfrm>
              <a:off x="1682751" y="6811963"/>
              <a:ext cx="147638" cy="147638"/>
            </a:xfrm>
            <a:custGeom>
              <a:avLst/>
              <a:gdLst>
                <a:gd name="T0" fmla="*/ 0 w 93"/>
                <a:gd name="T1" fmla="*/ 93 h 93"/>
                <a:gd name="T2" fmla="*/ 0 w 93"/>
                <a:gd name="T3" fmla="*/ 0 h 93"/>
                <a:gd name="T4" fmla="*/ 42 w 93"/>
                <a:gd name="T5" fmla="*/ 0 h 93"/>
                <a:gd name="T6" fmla="*/ 93 w 93"/>
                <a:gd name="T7" fmla="*/ 0 h 93"/>
                <a:gd name="T8" fmla="*/ 93 w 93"/>
                <a:gd name="T9" fmla="*/ 93 h 93"/>
                <a:gd name="T10" fmla="*/ 0 w 93"/>
                <a:gd name="T11" fmla="*/ 93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3" h="93">
                  <a:moveTo>
                    <a:pt x="0" y="93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93" y="0"/>
                  </a:lnTo>
                  <a:lnTo>
                    <a:pt x="93" y="93"/>
                  </a:lnTo>
                  <a:lnTo>
                    <a:pt x="0" y="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" name="Freeform 9"/>
            <p:cNvSpPr>
              <a:spLocks/>
            </p:cNvSpPr>
            <p:nvPr userDrawn="1"/>
          </p:nvSpPr>
          <p:spPr bwMode="auto">
            <a:xfrm>
              <a:off x="360363" y="6480175"/>
              <a:ext cx="590550" cy="723900"/>
            </a:xfrm>
            <a:custGeom>
              <a:avLst/>
              <a:gdLst>
                <a:gd name="T0" fmla="*/ 322 w 325"/>
                <a:gd name="T1" fmla="*/ 0 h 397"/>
                <a:gd name="T2" fmla="*/ 4 w 325"/>
                <a:gd name="T3" fmla="*/ 0 h 397"/>
                <a:gd name="T4" fmla="*/ 0 w 325"/>
                <a:gd name="T5" fmla="*/ 140 h 397"/>
                <a:gd name="T6" fmla="*/ 21 w 325"/>
                <a:gd name="T7" fmla="*/ 143 h 397"/>
                <a:gd name="T8" fmla="*/ 54 w 325"/>
                <a:gd name="T9" fmla="*/ 52 h 397"/>
                <a:gd name="T10" fmla="*/ 131 w 325"/>
                <a:gd name="T11" fmla="*/ 19 h 397"/>
                <a:gd name="T12" fmla="*/ 131 w 325"/>
                <a:gd name="T13" fmla="*/ 312 h 397"/>
                <a:gd name="T14" fmla="*/ 120 w 325"/>
                <a:gd name="T15" fmla="*/ 362 h 397"/>
                <a:gd name="T16" fmla="*/ 88 w 325"/>
                <a:gd name="T17" fmla="*/ 374 h 397"/>
                <a:gd name="T18" fmla="*/ 65 w 325"/>
                <a:gd name="T19" fmla="*/ 374 h 397"/>
                <a:gd name="T20" fmla="*/ 65 w 325"/>
                <a:gd name="T21" fmla="*/ 397 h 397"/>
                <a:gd name="T22" fmla="*/ 261 w 325"/>
                <a:gd name="T23" fmla="*/ 397 h 397"/>
                <a:gd name="T24" fmla="*/ 261 w 325"/>
                <a:gd name="T25" fmla="*/ 374 h 397"/>
                <a:gd name="T26" fmla="*/ 238 w 325"/>
                <a:gd name="T27" fmla="*/ 374 h 397"/>
                <a:gd name="T28" fmla="*/ 206 w 325"/>
                <a:gd name="T29" fmla="*/ 362 h 397"/>
                <a:gd name="T30" fmla="*/ 194 w 325"/>
                <a:gd name="T31" fmla="*/ 312 h 397"/>
                <a:gd name="T32" fmla="*/ 194 w 325"/>
                <a:gd name="T33" fmla="*/ 19 h 397"/>
                <a:gd name="T34" fmla="*/ 272 w 325"/>
                <a:gd name="T35" fmla="*/ 52 h 397"/>
                <a:gd name="T36" fmla="*/ 304 w 325"/>
                <a:gd name="T37" fmla="*/ 143 h 397"/>
                <a:gd name="T38" fmla="*/ 325 w 325"/>
                <a:gd name="T39" fmla="*/ 140 h 397"/>
                <a:gd name="T40" fmla="*/ 322 w 325"/>
                <a:gd name="T41" fmla="*/ 0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25" h="397">
                  <a:moveTo>
                    <a:pt x="322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21" y="143"/>
                    <a:pt x="21" y="143"/>
                    <a:pt x="21" y="143"/>
                  </a:cubicBezTo>
                  <a:cubicBezTo>
                    <a:pt x="25" y="102"/>
                    <a:pt x="36" y="72"/>
                    <a:pt x="54" y="52"/>
                  </a:cubicBezTo>
                  <a:cubicBezTo>
                    <a:pt x="72" y="31"/>
                    <a:pt x="98" y="20"/>
                    <a:pt x="131" y="19"/>
                  </a:cubicBezTo>
                  <a:cubicBezTo>
                    <a:pt x="131" y="312"/>
                    <a:pt x="131" y="312"/>
                    <a:pt x="131" y="312"/>
                  </a:cubicBezTo>
                  <a:cubicBezTo>
                    <a:pt x="131" y="337"/>
                    <a:pt x="127" y="354"/>
                    <a:pt x="120" y="362"/>
                  </a:cubicBezTo>
                  <a:cubicBezTo>
                    <a:pt x="114" y="368"/>
                    <a:pt x="103" y="372"/>
                    <a:pt x="88" y="374"/>
                  </a:cubicBezTo>
                  <a:cubicBezTo>
                    <a:pt x="83" y="374"/>
                    <a:pt x="76" y="374"/>
                    <a:pt x="65" y="374"/>
                  </a:cubicBezTo>
                  <a:cubicBezTo>
                    <a:pt x="65" y="397"/>
                    <a:pt x="65" y="397"/>
                    <a:pt x="65" y="397"/>
                  </a:cubicBezTo>
                  <a:cubicBezTo>
                    <a:pt x="261" y="397"/>
                    <a:pt x="261" y="397"/>
                    <a:pt x="261" y="397"/>
                  </a:cubicBezTo>
                  <a:cubicBezTo>
                    <a:pt x="261" y="374"/>
                    <a:pt x="261" y="374"/>
                    <a:pt x="261" y="374"/>
                  </a:cubicBezTo>
                  <a:cubicBezTo>
                    <a:pt x="250" y="374"/>
                    <a:pt x="242" y="374"/>
                    <a:pt x="238" y="374"/>
                  </a:cubicBezTo>
                  <a:cubicBezTo>
                    <a:pt x="223" y="372"/>
                    <a:pt x="212" y="368"/>
                    <a:pt x="206" y="362"/>
                  </a:cubicBezTo>
                  <a:cubicBezTo>
                    <a:pt x="198" y="354"/>
                    <a:pt x="194" y="337"/>
                    <a:pt x="194" y="312"/>
                  </a:cubicBezTo>
                  <a:cubicBezTo>
                    <a:pt x="194" y="19"/>
                    <a:pt x="194" y="19"/>
                    <a:pt x="194" y="19"/>
                  </a:cubicBezTo>
                  <a:cubicBezTo>
                    <a:pt x="228" y="20"/>
                    <a:pt x="253" y="31"/>
                    <a:pt x="272" y="52"/>
                  </a:cubicBezTo>
                  <a:cubicBezTo>
                    <a:pt x="290" y="72"/>
                    <a:pt x="301" y="102"/>
                    <a:pt x="304" y="143"/>
                  </a:cubicBezTo>
                  <a:cubicBezTo>
                    <a:pt x="325" y="140"/>
                    <a:pt x="325" y="140"/>
                    <a:pt x="325" y="140"/>
                  </a:cubicBezTo>
                  <a:lnTo>
                    <a:pt x="32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" name="Freeform 10"/>
            <p:cNvSpPr>
              <a:spLocks/>
            </p:cNvSpPr>
            <p:nvPr userDrawn="1"/>
          </p:nvSpPr>
          <p:spPr bwMode="auto">
            <a:xfrm>
              <a:off x="1957388" y="6491288"/>
              <a:ext cx="433388" cy="728663"/>
            </a:xfrm>
            <a:custGeom>
              <a:avLst/>
              <a:gdLst>
                <a:gd name="T0" fmla="*/ 202 w 239"/>
                <a:gd name="T1" fmla="*/ 134 h 400"/>
                <a:gd name="T2" fmla="*/ 175 w 239"/>
                <a:gd name="T3" fmla="*/ 59 h 400"/>
                <a:gd name="T4" fmla="*/ 108 w 239"/>
                <a:gd name="T5" fmla="*/ 20 h 400"/>
                <a:gd name="T6" fmla="*/ 66 w 239"/>
                <a:gd name="T7" fmla="*/ 35 h 400"/>
                <a:gd name="T8" fmla="*/ 45 w 239"/>
                <a:gd name="T9" fmla="*/ 84 h 400"/>
                <a:gd name="T10" fmla="*/ 68 w 239"/>
                <a:gd name="T11" fmla="*/ 134 h 400"/>
                <a:gd name="T12" fmla="*/ 120 w 239"/>
                <a:gd name="T13" fmla="*/ 159 h 400"/>
                <a:gd name="T14" fmla="*/ 198 w 239"/>
                <a:gd name="T15" fmla="*/ 193 h 400"/>
                <a:gd name="T16" fmla="*/ 239 w 239"/>
                <a:gd name="T17" fmla="*/ 279 h 400"/>
                <a:gd name="T18" fmla="*/ 205 w 239"/>
                <a:gd name="T19" fmla="*/ 367 h 400"/>
                <a:gd name="T20" fmla="*/ 127 w 239"/>
                <a:gd name="T21" fmla="*/ 400 h 400"/>
                <a:gd name="T22" fmla="*/ 82 w 239"/>
                <a:gd name="T23" fmla="*/ 391 h 400"/>
                <a:gd name="T24" fmla="*/ 52 w 239"/>
                <a:gd name="T25" fmla="*/ 374 h 400"/>
                <a:gd name="T26" fmla="*/ 40 w 239"/>
                <a:gd name="T27" fmla="*/ 370 h 400"/>
                <a:gd name="T28" fmla="*/ 26 w 239"/>
                <a:gd name="T29" fmla="*/ 378 h 400"/>
                <a:gd name="T30" fmla="*/ 18 w 239"/>
                <a:gd name="T31" fmla="*/ 391 h 400"/>
                <a:gd name="T32" fmla="*/ 0 w 239"/>
                <a:gd name="T33" fmla="*/ 391 h 400"/>
                <a:gd name="T34" fmla="*/ 0 w 239"/>
                <a:gd name="T35" fmla="*/ 252 h 400"/>
                <a:gd name="T36" fmla="*/ 19 w 239"/>
                <a:gd name="T37" fmla="*/ 252 h 400"/>
                <a:gd name="T38" fmla="*/ 46 w 239"/>
                <a:gd name="T39" fmla="*/ 332 h 400"/>
                <a:gd name="T40" fmla="*/ 124 w 239"/>
                <a:gd name="T41" fmla="*/ 379 h 400"/>
                <a:gd name="T42" fmla="*/ 171 w 239"/>
                <a:gd name="T43" fmla="*/ 363 h 400"/>
                <a:gd name="T44" fmla="*/ 195 w 239"/>
                <a:gd name="T45" fmla="*/ 304 h 400"/>
                <a:gd name="T46" fmla="*/ 158 w 239"/>
                <a:gd name="T47" fmla="*/ 239 h 400"/>
                <a:gd name="T48" fmla="*/ 94 w 239"/>
                <a:gd name="T49" fmla="*/ 214 h 400"/>
                <a:gd name="T50" fmla="*/ 35 w 239"/>
                <a:gd name="T51" fmla="*/ 183 h 400"/>
                <a:gd name="T52" fmla="*/ 3 w 239"/>
                <a:gd name="T53" fmla="*/ 107 h 400"/>
                <a:gd name="T54" fmla="*/ 38 w 239"/>
                <a:gd name="T55" fmla="*/ 25 h 400"/>
                <a:gd name="T56" fmla="*/ 105 w 239"/>
                <a:gd name="T57" fmla="*/ 0 h 400"/>
                <a:gd name="T58" fmla="*/ 148 w 239"/>
                <a:gd name="T59" fmla="*/ 8 h 400"/>
                <a:gd name="T60" fmla="*/ 175 w 239"/>
                <a:gd name="T61" fmla="*/ 23 h 400"/>
                <a:gd name="T62" fmla="*/ 185 w 239"/>
                <a:gd name="T63" fmla="*/ 26 h 400"/>
                <a:gd name="T64" fmla="*/ 203 w 239"/>
                <a:gd name="T65" fmla="*/ 8 h 400"/>
                <a:gd name="T66" fmla="*/ 219 w 239"/>
                <a:gd name="T67" fmla="*/ 8 h 400"/>
                <a:gd name="T68" fmla="*/ 219 w 239"/>
                <a:gd name="T69" fmla="*/ 134 h 400"/>
                <a:gd name="T70" fmla="*/ 202 w 239"/>
                <a:gd name="T71" fmla="*/ 134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39" h="400">
                  <a:moveTo>
                    <a:pt x="202" y="134"/>
                  </a:moveTo>
                  <a:cubicBezTo>
                    <a:pt x="195" y="100"/>
                    <a:pt x="186" y="75"/>
                    <a:pt x="175" y="59"/>
                  </a:cubicBezTo>
                  <a:cubicBezTo>
                    <a:pt x="158" y="33"/>
                    <a:pt x="135" y="20"/>
                    <a:pt x="108" y="20"/>
                  </a:cubicBezTo>
                  <a:cubicBezTo>
                    <a:pt x="91" y="20"/>
                    <a:pt x="77" y="25"/>
                    <a:pt x="66" y="35"/>
                  </a:cubicBezTo>
                  <a:cubicBezTo>
                    <a:pt x="52" y="47"/>
                    <a:pt x="45" y="63"/>
                    <a:pt x="45" y="84"/>
                  </a:cubicBezTo>
                  <a:cubicBezTo>
                    <a:pt x="45" y="105"/>
                    <a:pt x="53" y="122"/>
                    <a:pt x="68" y="134"/>
                  </a:cubicBezTo>
                  <a:cubicBezTo>
                    <a:pt x="77" y="142"/>
                    <a:pt x="94" y="150"/>
                    <a:pt x="120" y="159"/>
                  </a:cubicBezTo>
                  <a:cubicBezTo>
                    <a:pt x="159" y="172"/>
                    <a:pt x="184" y="184"/>
                    <a:pt x="198" y="193"/>
                  </a:cubicBezTo>
                  <a:cubicBezTo>
                    <a:pt x="225" y="214"/>
                    <a:pt x="239" y="243"/>
                    <a:pt x="239" y="279"/>
                  </a:cubicBezTo>
                  <a:cubicBezTo>
                    <a:pt x="239" y="314"/>
                    <a:pt x="228" y="344"/>
                    <a:pt x="205" y="367"/>
                  </a:cubicBezTo>
                  <a:cubicBezTo>
                    <a:pt x="184" y="389"/>
                    <a:pt x="158" y="400"/>
                    <a:pt x="127" y="400"/>
                  </a:cubicBezTo>
                  <a:cubicBezTo>
                    <a:pt x="111" y="400"/>
                    <a:pt x="96" y="397"/>
                    <a:pt x="82" y="391"/>
                  </a:cubicBezTo>
                  <a:cubicBezTo>
                    <a:pt x="76" y="388"/>
                    <a:pt x="66" y="383"/>
                    <a:pt x="52" y="374"/>
                  </a:cubicBezTo>
                  <a:cubicBezTo>
                    <a:pt x="48" y="372"/>
                    <a:pt x="44" y="370"/>
                    <a:pt x="40" y="370"/>
                  </a:cubicBezTo>
                  <a:cubicBezTo>
                    <a:pt x="34" y="370"/>
                    <a:pt x="30" y="373"/>
                    <a:pt x="26" y="378"/>
                  </a:cubicBezTo>
                  <a:cubicBezTo>
                    <a:pt x="24" y="381"/>
                    <a:pt x="21" y="385"/>
                    <a:pt x="18" y="391"/>
                  </a:cubicBezTo>
                  <a:cubicBezTo>
                    <a:pt x="0" y="391"/>
                    <a:pt x="0" y="391"/>
                    <a:pt x="0" y="391"/>
                  </a:cubicBezTo>
                  <a:cubicBezTo>
                    <a:pt x="0" y="252"/>
                    <a:pt x="0" y="252"/>
                    <a:pt x="0" y="252"/>
                  </a:cubicBezTo>
                  <a:cubicBezTo>
                    <a:pt x="19" y="252"/>
                    <a:pt x="19" y="252"/>
                    <a:pt x="19" y="252"/>
                  </a:cubicBezTo>
                  <a:cubicBezTo>
                    <a:pt x="25" y="287"/>
                    <a:pt x="35" y="314"/>
                    <a:pt x="46" y="332"/>
                  </a:cubicBezTo>
                  <a:cubicBezTo>
                    <a:pt x="66" y="364"/>
                    <a:pt x="92" y="379"/>
                    <a:pt x="124" y="379"/>
                  </a:cubicBezTo>
                  <a:cubicBezTo>
                    <a:pt x="143" y="379"/>
                    <a:pt x="159" y="374"/>
                    <a:pt x="171" y="363"/>
                  </a:cubicBezTo>
                  <a:cubicBezTo>
                    <a:pt x="187" y="348"/>
                    <a:pt x="195" y="329"/>
                    <a:pt x="195" y="304"/>
                  </a:cubicBezTo>
                  <a:cubicBezTo>
                    <a:pt x="195" y="275"/>
                    <a:pt x="183" y="253"/>
                    <a:pt x="158" y="239"/>
                  </a:cubicBezTo>
                  <a:cubicBezTo>
                    <a:pt x="150" y="234"/>
                    <a:pt x="129" y="226"/>
                    <a:pt x="94" y="214"/>
                  </a:cubicBezTo>
                  <a:cubicBezTo>
                    <a:pt x="69" y="206"/>
                    <a:pt x="49" y="195"/>
                    <a:pt x="35" y="183"/>
                  </a:cubicBezTo>
                  <a:cubicBezTo>
                    <a:pt x="14" y="164"/>
                    <a:pt x="3" y="139"/>
                    <a:pt x="3" y="107"/>
                  </a:cubicBezTo>
                  <a:cubicBezTo>
                    <a:pt x="3" y="72"/>
                    <a:pt x="15" y="45"/>
                    <a:pt x="38" y="25"/>
                  </a:cubicBezTo>
                  <a:cubicBezTo>
                    <a:pt x="56" y="8"/>
                    <a:pt x="79" y="0"/>
                    <a:pt x="105" y="0"/>
                  </a:cubicBezTo>
                  <a:cubicBezTo>
                    <a:pt x="119" y="0"/>
                    <a:pt x="134" y="2"/>
                    <a:pt x="148" y="8"/>
                  </a:cubicBezTo>
                  <a:cubicBezTo>
                    <a:pt x="153" y="10"/>
                    <a:pt x="162" y="15"/>
                    <a:pt x="175" y="23"/>
                  </a:cubicBezTo>
                  <a:cubicBezTo>
                    <a:pt x="179" y="25"/>
                    <a:pt x="182" y="26"/>
                    <a:pt x="185" y="26"/>
                  </a:cubicBezTo>
                  <a:cubicBezTo>
                    <a:pt x="191" y="26"/>
                    <a:pt x="197" y="20"/>
                    <a:pt x="203" y="8"/>
                  </a:cubicBezTo>
                  <a:cubicBezTo>
                    <a:pt x="219" y="8"/>
                    <a:pt x="219" y="8"/>
                    <a:pt x="219" y="8"/>
                  </a:cubicBezTo>
                  <a:cubicBezTo>
                    <a:pt x="219" y="134"/>
                    <a:pt x="219" y="134"/>
                    <a:pt x="219" y="134"/>
                  </a:cubicBezTo>
                  <a:lnTo>
                    <a:pt x="202" y="1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" name="Freeform 11"/>
            <p:cNvSpPr>
              <a:spLocks/>
            </p:cNvSpPr>
            <p:nvPr userDrawn="1"/>
          </p:nvSpPr>
          <p:spPr bwMode="auto">
            <a:xfrm>
              <a:off x="2420938" y="6723063"/>
              <a:ext cx="468313" cy="668338"/>
            </a:xfrm>
            <a:custGeom>
              <a:avLst/>
              <a:gdLst>
                <a:gd name="T0" fmla="*/ 0 w 258"/>
                <a:gd name="T1" fmla="*/ 0 h 367"/>
                <a:gd name="T2" fmla="*/ 119 w 258"/>
                <a:gd name="T3" fmla="*/ 0 h 367"/>
                <a:gd name="T4" fmla="*/ 119 w 258"/>
                <a:gd name="T5" fmla="*/ 18 h 367"/>
                <a:gd name="T6" fmla="*/ 109 w 258"/>
                <a:gd name="T7" fmla="*/ 18 h 367"/>
                <a:gd name="T8" fmla="*/ 86 w 258"/>
                <a:gd name="T9" fmla="*/ 30 h 367"/>
                <a:gd name="T10" fmla="*/ 90 w 258"/>
                <a:gd name="T11" fmla="*/ 46 h 367"/>
                <a:gd name="T12" fmla="*/ 147 w 258"/>
                <a:gd name="T13" fmla="*/ 196 h 367"/>
                <a:gd name="T14" fmla="*/ 197 w 258"/>
                <a:gd name="T15" fmla="*/ 57 h 367"/>
                <a:gd name="T16" fmla="*/ 202 w 258"/>
                <a:gd name="T17" fmla="*/ 34 h 367"/>
                <a:gd name="T18" fmla="*/ 177 w 258"/>
                <a:gd name="T19" fmla="*/ 18 h 367"/>
                <a:gd name="T20" fmla="*/ 164 w 258"/>
                <a:gd name="T21" fmla="*/ 18 h 367"/>
                <a:gd name="T22" fmla="*/ 164 w 258"/>
                <a:gd name="T23" fmla="*/ 0 h 367"/>
                <a:gd name="T24" fmla="*/ 258 w 258"/>
                <a:gd name="T25" fmla="*/ 0 h 367"/>
                <a:gd name="T26" fmla="*/ 258 w 258"/>
                <a:gd name="T27" fmla="*/ 18 h 367"/>
                <a:gd name="T28" fmla="*/ 252 w 258"/>
                <a:gd name="T29" fmla="*/ 18 h 367"/>
                <a:gd name="T30" fmla="*/ 235 w 258"/>
                <a:gd name="T31" fmla="*/ 26 h 367"/>
                <a:gd name="T32" fmla="*/ 226 w 258"/>
                <a:gd name="T33" fmla="*/ 44 h 367"/>
                <a:gd name="T34" fmla="*/ 131 w 258"/>
                <a:gd name="T35" fmla="*/ 299 h 367"/>
                <a:gd name="T36" fmla="*/ 101 w 258"/>
                <a:gd name="T37" fmla="*/ 351 h 367"/>
                <a:gd name="T38" fmla="*/ 60 w 258"/>
                <a:gd name="T39" fmla="*/ 367 h 367"/>
                <a:gd name="T40" fmla="*/ 25 w 258"/>
                <a:gd name="T41" fmla="*/ 355 h 367"/>
                <a:gd name="T42" fmla="*/ 7 w 258"/>
                <a:gd name="T43" fmla="*/ 318 h 367"/>
                <a:gd name="T44" fmla="*/ 15 w 258"/>
                <a:gd name="T45" fmla="*/ 295 h 367"/>
                <a:gd name="T46" fmla="*/ 38 w 258"/>
                <a:gd name="T47" fmla="*/ 285 h 367"/>
                <a:gd name="T48" fmla="*/ 62 w 258"/>
                <a:gd name="T49" fmla="*/ 296 h 367"/>
                <a:gd name="T50" fmla="*/ 67 w 258"/>
                <a:gd name="T51" fmla="*/ 313 h 367"/>
                <a:gd name="T52" fmla="*/ 58 w 258"/>
                <a:gd name="T53" fmla="*/ 334 h 367"/>
                <a:gd name="T54" fmla="*/ 43 w 258"/>
                <a:gd name="T55" fmla="*/ 341 h 367"/>
                <a:gd name="T56" fmla="*/ 61 w 258"/>
                <a:gd name="T57" fmla="*/ 348 h 367"/>
                <a:gd name="T58" fmla="*/ 90 w 258"/>
                <a:gd name="T59" fmla="*/ 335 h 367"/>
                <a:gd name="T60" fmla="*/ 115 w 258"/>
                <a:gd name="T61" fmla="*/ 284 h 367"/>
                <a:gd name="T62" fmla="*/ 121 w 258"/>
                <a:gd name="T63" fmla="*/ 266 h 367"/>
                <a:gd name="T64" fmla="*/ 42 w 258"/>
                <a:gd name="T65" fmla="*/ 55 h 367"/>
                <a:gd name="T66" fmla="*/ 27 w 258"/>
                <a:gd name="T67" fmla="*/ 24 h 367"/>
                <a:gd name="T68" fmla="*/ 4 w 258"/>
                <a:gd name="T69" fmla="*/ 18 h 367"/>
                <a:gd name="T70" fmla="*/ 0 w 258"/>
                <a:gd name="T71" fmla="*/ 18 h 367"/>
                <a:gd name="T72" fmla="*/ 0 w 258"/>
                <a:gd name="T73" fmla="*/ 0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58" h="367">
                  <a:moveTo>
                    <a:pt x="0" y="0"/>
                  </a:moveTo>
                  <a:cubicBezTo>
                    <a:pt x="119" y="0"/>
                    <a:pt x="119" y="0"/>
                    <a:pt x="119" y="0"/>
                  </a:cubicBezTo>
                  <a:cubicBezTo>
                    <a:pt x="119" y="18"/>
                    <a:pt x="119" y="18"/>
                    <a:pt x="119" y="18"/>
                  </a:cubicBezTo>
                  <a:cubicBezTo>
                    <a:pt x="109" y="18"/>
                    <a:pt x="109" y="18"/>
                    <a:pt x="109" y="18"/>
                  </a:cubicBezTo>
                  <a:cubicBezTo>
                    <a:pt x="93" y="18"/>
                    <a:pt x="86" y="22"/>
                    <a:pt x="86" y="30"/>
                  </a:cubicBezTo>
                  <a:cubicBezTo>
                    <a:pt x="86" y="34"/>
                    <a:pt x="87" y="39"/>
                    <a:pt x="90" y="46"/>
                  </a:cubicBezTo>
                  <a:cubicBezTo>
                    <a:pt x="147" y="196"/>
                    <a:pt x="147" y="196"/>
                    <a:pt x="147" y="196"/>
                  </a:cubicBezTo>
                  <a:cubicBezTo>
                    <a:pt x="197" y="57"/>
                    <a:pt x="197" y="57"/>
                    <a:pt x="197" y="57"/>
                  </a:cubicBezTo>
                  <a:cubicBezTo>
                    <a:pt x="200" y="47"/>
                    <a:pt x="202" y="39"/>
                    <a:pt x="202" y="34"/>
                  </a:cubicBezTo>
                  <a:cubicBezTo>
                    <a:pt x="202" y="23"/>
                    <a:pt x="194" y="18"/>
                    <a:pt x="177" y="18"/>
                  </a:cubicBezTo>
                  <a:cubicBezTo>
                    <a:pt x="164" y="18"/>
                    <a:pt x="164" y="18"/>
                    <a:pt x="164" y="18"/>
                  </a:cubicBezTo>
                  <a:cubicBezTo>
                    <a:pt x="164" y="0"/>
                    <a:pt x="164" y="0"/>
                    <a:pt x="164" y="0"/>
                  </a:cubicBezTo>
                  <a:cubicBezTo>
                    <a:pt x="258" y="0"/>
                    <a:pt x="258" y="0"/>
                    <a:pt x="258" y="0"/>
                  </a:cubicBezTo>
                  <a:cubicBezTo>
                    <a:pt x="258" y="18"/>
                    <a:pt x="258" y="18"/>
                    <a:pt x="258" y="18"/>
                  </a:cubicBezTo>
                  <a:cubicBezTo>
                    <a:pt x="252" y="18"/>
                    <a:pt x="252" y="18"/>
                    <a:pt x="252" y="18"/>
                  </a:cubicBezTo>
                  <a:cubicBezTo>
                    <a:pt x="245" y="18"/>
                    <a:pt x="240" y="20"/>
                    <a:pt x="235" y="26"/>
                  </a:cubicBezTo>
                  <a:cubicBezTo>
                    <a:pt x="232" y="29"/>
                    <a:pt x="229" y="36"/>
                    <a:pt x="226" y="44"/>
                  </a:cubicBezTo>
                  <a:cubicBezTo>
                    <a:pt x="131" y="299"/>
                    <a:pt x="131" y="299"/>
                    <a:pt x="131" y="299"/>
                  </a:cubicBezTo>
                  <a:cubicBezTo>
                    <a:pt x="122" y="323"/>
                    <a:pt x="112" y="340"/>
                    <a:pt x="101" y="351"/>
                  </a:cubicBezTo>
                  <a:cubicBezTo>
                    <a:pt x="90" y="362"/>
                    <a:pt x="76" y="367"/>
                    <a:pt x="60" y="367"/>
                  </a:cubicBezTo>
                  <a:cubicBezTo>
                    <a:pt x="46" y="367"/>
                    <a:pt x="34" y="363"/>
                    <a:pt x="25" y="355"/>
                  </a:cubicBezTo>
                  <a:cubicBezTo>
                    <a:pt x="13" y="345"/>
                    <a:pt x="7" y="333"/>
                    <a:pt x="7" y="318"/>
                  </a:cubicBezTo>
                  <a:cubicBezTo>
                    <a:pt x="7" y="309"/>
                    <a:pt x="10" y="301"/>
                    <a:pt x="15" y="295"/>
                  </a:cubicBezTo>
                  <a:cubicBezTo>
                    <a:pt x="21" y="288"/>
                    <a:pt x="28" y="285"/>
                    <a:pt x="38" y="285"/>
                  </a:cubicBezTo>
                  <a:cubicBezTo>
                    <a:pt x="49" y="285"/>
                    <a:pt x="57" y="289"/>
                    <a:pt x="62" y="296"/>
                  </a:cubicBezTo>
                  <a:cubicBezTo>
                    <a:pt x="66" y="301"/>
                    <a:pt x="67" y="306"/>
                    <a:pt x="67" y="313"/>
                  </a:cubicBezTo>
                  <a:cubicBezTo>
                    <a:pt x="67" y="321"/>
                    <a:pt x="64" y="328"/>
                    <a:pt x="58" y="334"/>
                  </a:cubicBezTo>
                  <a:cubicBezTo>
                    <a:pt x="54" y="337"/>
                    <a:pt x="49" y="340"/>
                    <a:pt x="43" y="341"/>
                  </a:cubicBezTo>
                  <a:cubicBezTo>
                    <a:pt x="48" y="345"/>
                    <a:pt x="53" y="348"/>
                    <a:pt x="61" y="348"/>
                  </a:cubicBezTo>
                  <a:cubicBezTo>
                    <a:pt x="72" y="348"/>
                    <a:pt x="82" y="343"/>
                    <a:pt x="90" y="335"/>
                  </a:cubicBezTo>
                  <a:cubicBezTo>
                    <a:pt x="97" y="327"/>
                    <a:pt x="106" y="310"/>
                    <a:pt x="115" y="284"/>
                  </a:cubicBezTo>
                  <a:cubicBezTo>
                    <a:pt x="121" y="266"/>
                    <a:pt x="121" y="266"/>
                    <a:pt x="121" y="266"/>
                  </a:cubicBezTo>
                  <a:cubicBezTo>
                    <a:pt x="42" y="55"/>
                    <a:pt x="42" y="55"/>
                    <a:pt x="42" y="55"/>
                  </a:cubicBezTo>
                  <a:cubicBezTo>
                    <a:pt x="36" y="38"/>
                    <a:pt x="31" y="28"/>
                    <a:pt x="27" y="24"/>
                  </a:cubicBezTo>
                  <a:cubicBezTo>
                    <a:pt x="21" y="20"/>
                    <a:pt x="14" y="18"/>
                    <a:pt x="4" y="18"/>
                  </a:cubicBezTo>
                  <a:cubicBezTo>
                    <a:pt x="0" y="18"/>
                    <a:pt x="0" y="18"/>
                    <a:pt x="0" y="18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" name="Freeform 12"/>
            <p:cNvSpPr>
              <a:spLocks/>
            </p:cNvSpPr>
            <p:nvPr userDrawn="1"/>
          </p:nvSpPr>
          <p:spPr bwMode="auto">
            <a:xfrm>
              <a:off x="2897188" y="6711950"/>
              <a:ext cx="334963" cy="500063"/>
            </a:xfrm>
            <a:custGeom>
              <a:avLst/>
              <a:gdLst>
                <a:gd name="T0" fmla="*/ 168 w 184"/>
                <a:gd name="T1" fmla="*/ 6 h 275"/>
                <a:gd name="T2" fmla="*/ 168 w 184"/>
                <a:gd name="T3" fmla="*/ 89 h 275"/>
                <a:gd name="T4" fmla="*/ 151 w 184"/>
                <a:gd name="T5" fmla="*/ 89 h 275"/>
                <a:gd name="T6" fmla="*/ 84 w 184"/>
                <a:gd name="T7" fmla="*/ 17 h 275"/>
                <a:gd name="T8" fmla="*/ 53 w 184"/>
                <a:gd name="T9" fmla="*/ 28 h 275"/>
                <a:gd name="T10" fmla="*/ 41 w 184"/>
                <a:gd name="T11" fmla="*/ 57 h 275"/>
                <a:gd name="T12" fmla="*/ 58 w 184"/>
                <a:gd name="T13" fmla="*/ 88 h 275"/>
                <a:gd name="T14" fmla="*/ 89 w 184"/>
                <a:gd name="T15" fmla="*/ 101 h 275"/>
                <a:gd name="T16" fmla="*/ 152 w 184"/>
                <a:gd name="T17" fmla="*/ 128 h 275"/>
                <a:gd name="T18" fmla="*/ 184 w 184"/>
                <a:gd name="T19" fmla="*/ 191 h 275"/>
                <a:gd name="T20" fmla="*/ 157 w 184"/>
                <a:gd name="T21" fmla="*/ 255 h 275"/>
                <a:gd name="T22" fmla="*/ 98 w 184"/>
                <a:gd name="T23" fmla="*/ 275 h 275"/>
                <a:gd name="T24" fmla="*/ 60 w 184"/>
                <a:gd name="T25" fmla="*/ 268 h 275"/>
                <a:gd name="T26" fmla="*/ 34 w 184"/>
                <a:gd name="T27" fmla="*/ 254 h 275"/>
                <a:gd name="T28" fmla="*/ 26 w 184"/>
                <a:gd name="T29" fmla="*/ 252 h 275"/>
                <a:gd name="T30" fmla="*/ 16 w 184"/>
                <a:gd name="T31" fmla="*/ 270 h 275"/>
                <a:gd name="T32" fmla="*/ 0 w 184"/>
                <a:gd name="T33" fmla="*/ 270 h 275"/>
                <a:gd name="T34" fmla="*/ 0 w 184"/>
                <a:gd name="T35" fmla="*/ 172 h 275"/>
                <a:gd name="T36" fmla="*/ 16 w 184"/>
                <a:gd name="T37" fmla="*/ 172 h 275"/>
                <a:gd name="T38" fmla="*/ 37 w 184"/>
                <a:gd name="T39" fmla="*/ 224 h 275"/>
                <a:gd name="T40" fmla="*/ 63 w 184"/>
                <a:gd name="T41" fmla="*/ 248 h 275"/>
                <a:gd name="T42" fmla="*/ 97 w 184"/>
                <a:gd name="T43" fmla="*/ 257 h 275"/>
                <a:gd name="T44" fmla="*/ 132 w 184"/>
                <a:gd name="T45" fmla="*/ 242 h 275"/>
                <a:gd name="T46" fmla="*/ 144 w 184"/>
                <a:gd name="T47" fmla="*/ 210 h 275"/>
                <a:gd name="T48" fmla="*/ 120 w 184"/>
                <a:gd name="T49" fmla="*/ 170 h 275"/>
                <a:gd name="T50" fmla="*/ 70 w 184"/>
                <a:gd name="T51" fmla="*/ 149 h 275"/>
                <a:gd name="T52" fmla="*/ 28 w 184"/>
                <a:gd name="T53" fmla="*/ 128 h 275"/>
                <a:gd name="T54" fmla="*/ 3 w 184"/>
                <a:gd name="T55" fmla="*/ 72 h 275"/>
                <a:gd name="T56" fmla="*/ 26 w 184"/>
                <a:gd name="T57" fmla="*/ 19 h 275"/>
                <a:gd name="T58" fmla="*/ 80 w 184"/>
                <a:gd name="T59" fmla="*/ 0 h 275"/>
                <a:gd name="T60" fmla="*/ 134 w 184"/>
                <a:gd name="T61" fmla="*/ 16 h 275"/>
                <a:gd name="T62" fmla="*/ 143 w 184"/>
                <a:gd name="T63" fmla="*/ 19 h 275"/>
                <a:gd name="T64" fmla="*/ 151 w 184"/>
                <a:gd name="T65" fmla="*/ 6 h 275"/>
                <a:gd name="T66" fmla="*/ 168 w 184"/>
                <a:gd name="T67" fmla="*/ 6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84" h="275">
                  <a:moveTo>
                    <a:pt x="168" y="6"/>
                  </a:moveTo>
                  <a:cubicBezTo>
                    <a:pt x="168" y="89"/>
                    <a:pt x="168" y="89"/>
                    <a:pt x="168" y="89"/>
                  </a:cubicBezTo>
                  <a:cubicBezTo>
                    <a:pt x="151" y="89"/>
                    <a:pt x="151" y="89"/>
                    <a:pt x="151" y="89"/>
                  </a:cubicBezTo>
                  <a:cubicBezTo>
                    <a:pt x="142" y="41"/>
                    <a:pt x="119" y="17"/>
                    <a:pt x="84" y="17"/>
                  </a:cubicBezTo>
                  <a:cubicBezTo>
                    <a:pt x="71" y="17"/>
                    <a:pt x="61" y="21"/>
                    <a:pt x="53" y="28"/>
                  </a:cubicBezTo>
                  <a:cubicBezTo>
                    <a:pt x="45" y="36"/>
                    <a:pt x="41" y="46"/>
                    <a:pt x="41" y="57"/>
                  </a:cubicBezTo>
                  <a:cubicBezTo>
                    <a:pt x="41" y="70"/>
                    <a:pt x="47" y="80"/>
                    <a:pt x="58" y="88"/>
                  </a:cubicBezTo>
                  <a:cubicBezTo>
                    <a:pt x="64" y="92"/>
                    <a:pt x="74" y="96"/>
                    <a:pt x="89" y="101"/>
                  </a:cubicBezTo>
                  <a:cubicBezTo>
                    <a:pt x="120" y="111"/>
                    <a:pt x="142" y="120"/>
                    <a:pt x="152" y="128"/>
                  </a:cubicBezTo>
                  <a:cubicBezTo>
                    <a:pt x="173" y="144"/>
                    <a:pt x="184" y="165"/>
                    <a:pt x="184" y="191"/>
                  </a:cubicBezTo>
                  <a:cubicBezTo>
                    <a:pt x="184" y="217"/>
                    <a:pt x="175" y="238"/>
                    <a:pt x="157" y="255"/>
                  </a:cubicBezTo>
                  <a:cubicBezTo>
                    <a:pt x="141" y="269"/>
                    <a:pt x="122" y="275"/>
                    <a:pt x="98" y="275"/>
                  </a:cubicBezTo>
                  <a:cubicBezTo>
                    <a:pt x="84" y="275"/>
                    <a:pt x="71" y="273"/>
                    <a:pt x="60" y="268"/>
                  </a:cubicBezTo>
                  <a:cubicBezTo>
                    <a:pt x="55" y="266"/>
                    <a:pt x="46" y="262"/>
                    <a:pt x="34" y="254"/>
                  </a:cubicBezTo>
                  <a:cubicBezTo>
                    <a:pt x="31" y="253"/>
                    <a:pt x="28" y="252"/>
                    <a:pt x="26" y="252"/>
                  </a:cubicBezTo>
                  <a:cubicBezTo>
                    <a:pt x="23" y="252"/>
                    <a:pt x="19" y="258"/>
                    <a:pt x="16" y="270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172"/>
                    <a:pt x="0" y="172"/>
                    <a:pt x="0" y="172"/>
                  </a:cubicBezTo>
                  <a:cubicBezTo>
                    <a:pt x="16" y="172"/>
                    <a:pt x="16" y="172"/>
                    <a:pt x="16" y="172"/>
                  </a:cubicBezTo>
                  <a:cubicBezTo>
                    <a:pt x="23" y="196"/>
                    <a:pt x="30" y="214"/>
                    <a:pt x="37" y="224"/>
                  </a:cubicBezTo>
                  <a:cubicBezTo>
                    <a:pt x="44" y="234"/>
                    <a:pt x="53" y="242"/>
                    <a:pt x="63" y="248"/>
                  </a:cubicBezTo>
                  <a:cubicBezTo>
                    <a:pt x="74" y="254"/>
                    <a:pt x="85" y="257"/>
                    <a:pt x="97" y="257"/>
                  </a:cubicBezTo>
                  <a:cubicBezTo>
                    <a:pt x="112" y="257"/>
                    <a:pt x="123" y="252"/>
                    <a:pt x="132" y="242"/>
                  </a:cubicBezTo>
                  <a:cubicBezTo>
                    <a:pt x="140" y="233"/>
                    <a:pt x="144" y="222"/>
                    <a:pt x="144" y="210"/>
                  </a:cubicBezTo>
                  <a:cubicBezTo>
                    <a:pt x="144" y="193"/>
                    <a:pt x="136" y="179"/>
                    <a:pt x="120" y="170"/>
                  </a:cubicBezTo>
                  <a:cubicBezTo>
                    <a:pt x="112" y="164"/>
                    <a:pt x="95" y="158"/>
                    <a:pt x="70" y="149"/>
                  </a:cubicBezTo>
                  <a:cubicBezTo>
                    <a:pt x="53" y="144"/>
                    <a:pt x="39" y="137"/>
                    <a:pt x="28" y="128"/>
                  </a:cubicBezTo>
                  <a:cubicBezTo>
                    <a:pt x="11" y="115"/>
                    <a:pt x="3" y="97"/>
                    <a:pt x="3" y="72"/>
                  </a:cubicBezTo>
                  <a:cubicBezTo>
                    <a:pt x="3" y="50"/>
                    <a:pt x="10" y="32"/>
                    <a:pt x="26" y="19"/>
                  </a:cubicBezTo>
                  <a:cubicBezTo>
                    <a:pt x="40" y="6"/>
                    <a:pt x="58" y="0"/>
                    <a:pt x="80" y="0"/>
                  </a:cubicBezTo>
                  <a:cubicBezTo>
                    <a:pt x="99" y="0"/>
                    <a:pt x="117" y="5"/>
                    <a:pt x="134" y="16"/>
                  </a:cubicBezTo>
                  <a:cubicBezTo>
                    <a:pt x="138" y="18"/>
                    <a:pt x="141" y="19"/>
                    <a:pt x="143" y="19"/>
                  </a:cubicBezTo>
                  <a:cubicBezTo>
                    <a:pt x="146" y="19"/>
                    <a:pt x="149" y="14"/>
                    <a:pt x="151" y="6"/>
                  </a:cubicBezTo>
                  <a:lnTo>
                    <a:pt x="168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" name="Freeform 13"/>
            <p:cNvSpPr>
              <a:spLocks/>
            </p:cNvSpPr>
            <p:nvPr userDrawn="1"/>
          </p:nvSpPr>
          <p:spPr bwMode="auto">
            <a:xfrm>
              <a:off x="3244851" y="6540500"/>
              <a:ext cx="319088" cy="671513"/>
            </a:xfrm>
            <a:custGeom>
              <a:avLst/>
              <a:gdLst>
                <a:gd name="T0" fmla="*/ 90 w 176"/>
                <a:gd name="T1" fmla="*/ 119 h 369"/>
                <a:gd name="T2" fmla="*/ 90 w 176"/>
                <a:gd name="T3" fmla="*/ 278 h 369"/>
                <a:gd name="T4" fmla="*/ 94 w 176"/>
                <a:gd name="T5" fmla="*/ 323 h 369"/>
                <a:gd name="T6" fmla="*/ 122 w 176"/>
                <a:gd name="T7" fmla="*/ 345 h 369"/>
                <a:gd name="T8" fmla="*/ 149 w 176"/>
                <a:gd name="T9" fmla="*/ 326 h 369"/>
                <a:gd name="T10" fmla="*/ 157 w 176"/>
                <a:gd name="T11" fmla="*/ 281 h 369"/>
                <a:gd name="T12" fmla="*/ 157 w 176"/>
                <a:gd name="T13" fmla="*/ 273 h 369"/>
                <a:gd name="T14" fmla="*/ 176 w 176"/>
                <a:gd name="T15" fmla="*/ 273 h 369"/>
                <a:gd name="T16" fmla="*/ 176 w 176"/>
                <a:gd name="T17" fmla="*/ 284 h 369"/>
                <a:gd name="T18" fmla="*/ 159 w 176"/>
                <a:gd name="T19" fmla="*/ 347 h 369"/>
                <a:gd name="T20" fmla="*/ 108 w 176"/>
                <a:gd name="T21" fmla="*/ 369 h 369"/>
                <a:gd name="T22" fmla="*/ 58 w 176"/>
                <a:gd name="T23" fmla="*/ 350 h 369"/>
                <a:gd name="T24" fmla="*/ 43 w 176"/>
                <a:gd name="T25" fmla="*/ 315 h 369"/>
                <a:gd name="T26" fmla="*/ 42 w 176"/>
                <a:gd name="T27" fmla="*/ 278 h 369"/>
                <a:gd name="T28" fmla="*/ 42 w 176"/>
                <a:gd name="T29" fmla="*/ 119 h 369"/>
                <a:gd name="T30" fmla="*/ 0 w 176"/>
                <a:gd name="T31" fmla="*/ 119 h 369"/>
                <a:gd name="T32" fmla="*/ 0 w 176"/>
                <a:gd name="T33" fmla="*/ 103 h 369"/>
                <a:gd name="T34" fmla="*/ 54 w 176"/>
                <a:gd name="T35" fmla="*/ 72 h 369"/>
                <a:gd name="T36" fmla="*/ 74 w 176"/>
                <a:gd name="T37" fmla="*/ 0 h 369"/>
                <a:gd name="T38" fmla="*/ 90 w 176"/>
                <a:gd name="T39" fmla="*/ 0 h 369"/>
                <a:gd name="T40" fmla="*/ 90 w 176"/>
                <a:gd name="T41" fmla="*/ 100 h 369"/>
                <a:gd name="T42" fmla="*/ 167 w 176"/>
                <a:gd name="T43" fmla="*/ 100 h 369"/>
                <a:gd name="T44" fmla="*/ 167 w 176"/>
                <a:gd name="T45" fmla="*/ 119 h 369"/>
                <a:gd name="T46" fmla="*/ 90 w 176"/>
                <a:gd name="T47" fmla="*/ 119 h 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6" h="369">
                  <a:moveTo>
                    <a:pt x="90" y="119"/>
                  </a:moveTo>
                  <a:cubicBezTo>
                    <a:pt x="90" y="278"/>
                    <a:pt x="90" y="278"/>
                    <a:pt x="90" y="278"/>
                  </a:cubicBezTo>
                  <a:cubicBezTo>
                    <a:pt x="90" y="299"/>
                    <a:pt x="92" y="314"/>
                    <a:pt x="94" y="323"/>
                  </a:cubicBezTo>
                  <a:cubicBezTo>
                    <a:pt x="99" y="338"/>
                    <a:pt x="108" y="345"/>
                    <a:pt x="122" y="345"/>
                  </a:cubicBezTo>
                  <a:cubicBezTo>
                    <a:pt x="134" y="345"/>
                    <a:pt x="143" y="339"/>
                    <a:pt x="149" y="326"/>
                  </a:cubicBezTo>
                  <a:cubicBezTo>
                    <a:pt x="154" y="314"/>
                    <a:pt x="157" y="299"/>
                    <a:pt x="157" y="281"/>
                  </a:cubicBezTo>
                  <a:cubicBezTo>
                    <a:pt x="157" y="273"/>
                    <a:pt x="157" y="273"/>
                    <a:pt x="157" y="273"/>
                  </a:cubicBezTo>
                  <a:cubicBezTo>
                    <a:pt x="176" y="273"/>
                    <a:pt x="176" y="273"/>
                    <a:pt x="176" y="273"/>
                  </a:cubicBezTo>
                  <a:cubicBezTo>
                    <a:pt x="176" y="284"/>
                    <a:pt x="176" y="284"/>
                    <a:pt x="176" y="284"/>
                  </a:cubicBezTo>
                  <a:cubicBezTo>
                    <a:pt x="176" y="310"/>
                    <a:pt x="170" y="331"/>
                    <a:pt x="159" y="347"/>
                  </a:cubicBezTo>
                  <a:cubicBezTo>
                    <a:pt x="148" y="362"/>
                    <a:pt x="131" y="369"/>
                    <a:pt x="108" y="369"/>
                  </a:cubicBezTo>
                  <a:cubicBezTo>
                    <a:pt x="85" y="369"/>
                    <a:pt x="69" y="363"/>
                    <a:pt x="58" y="350"/>
                  </a:cubicBezTo>
                  <a:cubicBezTo>
                    <a:pt x="50" y="340"/>
                    <a:pt x="45" y="329"/>
                    <a:pt x="43" y="315"/>
                  </a:cubicBezTo>
                  <a:cubicBezTo>
                    <a:pt x="42" y="305"/>
                    <a:pt x="42" y="293"/>
                    <a:pt x="42" y="278"/>
                  </a:cubicBezTo>
                  <a:cubicBezTo>
                    <a:pt x="42" y="119"/>
                    <a:pt x="42" y="119"/>
                    <a:pt x="42" y="119"/>
                  </a:cubicBezTo>
                  <a:cubicBezTo>
                    <a:pt x="0" y="119"/>
                    <a:pt x="0" y="119"/>
                    <a:pt x="0" y="119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27" y="97"/>
                    <a:pt x="45" y="86"/>
                    <a:pt x="54" y="72"/>
                  </a:cubicBezTo>
                  <a:cubicBezTo>
                    <a:pt x="64" y="57"/>
                    <a:pt x="71" y="33"/>
                    <a:pt x="74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0" y="100"/>
                    <a:pt x="90" y="100"/>
                    <a:pt x="90" y="100"/>
                  </a:cubicBezTo>
                  <a:cubicBezTo>
                    <a:pt x="167" y="100"/>
                    <a:pt x="167" y="100"/>
                    <a:pt x="167" y="100"/>
                  </a:cubicBezTo>
                  <a:cubicBezTo>
                    <a:pt x="167" y="119"/>
                    <a:pt x="167" y="119"/>
                    <a:pt x="167" y="119"/>
                  </a:cubicBezTo>
                  <a:lnTo>
                    <a:pt x="90" y="1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5" name="Freeform 14"/>
            <p:cNvSpPr>
              <a:spLocks noEditPoints="1"/>
            </p:cNvSpPr>
            <p:nvPr userDrawn="1"/>
          </p:nvSpPr>
          <p:spPr bwMode="auto">
            <a:xfrm>
              <a:off x="3595688" y="6708775"/>
              <a:ext cx="381000" cy="509588"/>
            </a:xfrm>
            <a:custGeom>
              <a:avLst/>
              <a:gdLst>
                <a:gd name="T0" fmla="*/ 210 w 210"/>
                <a:gd name="T1" fmla="*/ 138 h 280"/>
                <a:gd name="T2" fmla="*/ 53 w 210"/>
                <a:gd name="T3" fmla="*/ 138 h 280"/>
                <a:gd name="T4" fmla="*/ 65 w 210"/>
                <a:gd name="T5" fmla="*/ 220 h 280"/>
                <a:gd name="T6" fmla="*/ 119 w 210"/>
                <a:gd name="T7" fmla="*/ 257 h 280"/>
                <a:gd name="T8" fmla="*/ 168 w 210"/>
                <a:gd name="T9" fmla="*/ 234 h 280"/>
                <a:gd name="T10" fmla="*/ 190 w 210"/>
                <a:gd name="T11" fmla="*/ 198 h 280"/>
                <a:gd name="T12" fmla="*/ 207 w 210"/>
                <a:gd name="T13" fmla="*/ 207 h 280"/>
                <a:gd name="T14" fmla="*/ 110 w 210"/>
                <a:gd name="T15" fmla="*/ 280 h 280"/>
                <a:gd name="T16" fmla="*/ 36 w 210"/>
                <a:gd name="T17" fmla="*/ 249 h 280"/>
                <a:gd name="T18" fmla="*/ 0 w 210"/>
                <a:gd name="T19" fmla="*/ 138 h 280"/>
                <a:gd name="T20" fmla="*/ 36 w 210"/>
                <a:gd name="T21" fmla="*/ 31 h 280"/>
                <a:gd name="T22" fmla="*/ 104 w 210"/>
                <a:gd name="T23" fmla="*/ 0 h 280"/>
                <a:gd name="T24" fmla="*/ 193 w 210"/>
                <a:gd name="T25" fmla="*/ 59 h 280"/>
                <a:gd name="T26" fmla="*/ 210 w 210"/>
                <a:gd name="T27" fmla="*/ 138 h 280"/>
                <a:gd name="T28" fmla="*/ 157 w 210"/>
                <a:gd name="T29" fmla="*/ 118 h 280"/>
                <a:gd name="T30" fmla="*/ 150 w 210"/>
                <a:gd name="T31" fmla="*/ 60 h 280"/>
                <a:gd name="T32" fmla="*/ 107 w 210"/>
                <a:gd name="T33" fmla="*/ 20 h 280"/>
                <a:gd name="T34" fmla="*/ 60 w 210"/>
                <a:gd name="T35" fmla="*/ 69 h 280"/>
                <a:gd name="T36" fmla="*/ 54 w 210"/>
                <a:gd name="T37" fmla="*/ 118 h 280"/>
                <a:gd name="T38" fmla="*/ 157 w 210"/>
                <a:gd name="T39" fmla="*/ 118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10" h="280">
                  <a:moveTo>
                    <a:pt x="210" y="138"/>
                  </a:moveTo>
                  <a:cubicBezTo>
                    <a:pt x="53" y="138"/>
                    <a:pt x="53" y="138"/>
                    <a:pt x="53" y="138"/>
                  </a:cubicBezTo>
                  <a:cubicBezTo>
                    <a:pt x="54" y="175"/>
                    <a:pt x="58" y="202"/>
                    <a:pt x="65" y="220"/>
                  </a:cubicBezTo>
                  <a:cubicBezTo>
                    <a:pt x="75" y="245"/>
                    <a:pt x="93" y="257"/>
                    <a:pt x="119" y="257"/>
                  </a:cubicBezTo>
                  <a:cubicBezTo>
                    <a:pt x="139" y="257"/>
                    <a:pt x="155" y="249"/>
                    <a:pt x="168" y="234"/>
                  </a:cubicBezTo>
                  <a:cubicBezTo>
                    <a:pt x="176" y="225"/>
                    <a:pt x="183" y="213"/>
                    <a:pt x="190" y="198"/>
                  </a:cubicBezTo>
                  <a:cubicBezTo>
                    <a:pt x="207" y="207"/>
                    <a:pt x="207" y="207"/>
                    <a:pt x="207" y="207"/>
                  </a:cubicBezTo>
                  <a:cubicBezTo>
                    <a:pt x="183" y="256"/>
                    <a:pt x="151" y="280"/>
                    <a:pt x="110" y="280"/>
                  </a:cubicBezTo>
                  <a:cubicBezTo>
                    <a:pt x="80" y="280"/>
                    <a:pt x="55" y="269"/>
                    <a:pt x="36" y="249"/>
                  </a:cubicBezTo>
                  <a:cubicBezTo>
                    <a:pt x="12" y="223"/>
                    <a:pt x="0" y="186"/>
                    <a:pt x="0" y="138"/>
                  </a:cubicBezTo>
                  <a:cubicBezTo>
                    <a:pt x="0" y="94"/>
                    <a:pt x="12" y="58"/>
                    <a:pt x="36" y="31"/>
                  </a:cubicBezTo>
                  <a:cubicBezTo>
                    <a:pt x="55" y="10"/>
                    <a:pt x="77" y="0"/>
                    <a:pt x="104" y="0"/>
                  </a:cubicBezTo>
                  <a:cubicBezTo>
                    <a:pt x="143" y="0"/>
                    <a:pt x="173" y="19"/>
                    <a:pt x="193" y="59"/>
                  </a:cubicBezTo>
                  <a:cubicBezTo>
                    <a:pt x="203" y="80"/>
                    <a:pt x="209" y="106"/>
                    <a:pt x="210" y="138"/>
                  </a:cubicBezTo>
                  <a:close/>
                  <a:moveTo>
                    <a:pt x="157" y="118"/>
                  </a:moveTo>
                  <a:cubicBezTo>
                    <a:pt x="157" y="94"/>
                    <a:pt x="155" y="75"/>
                    <a:pt x="150" y="60"/>
                  </a:cubicBezTo>
                  <a:cubicBezTo>
                    <a:pt x="141" y="33"/>
                    <a:pt x="126" y="20"/>
                    <a:pt x="107" y="20"/>
                  </a:cubicBezTo>
                  <a:cubicBezTo>
                    <a:pt x="85" y="20"/>
                    <a:pt x="69" y="36"/>
                    <a:pt x="60" y="69"/>
                  </a:cubicBezTo>
                  <a:cubicBezTo>
                    <a:pt x="56" y="82"/>
                    <a:pt x="54" y="99"/>
                    <a:pt x="54" y="118"/>
                  </a:cubicBezTo>
                  <a:lnTo>
                    <a:pt x="157" y="1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" name="Freeform 15"/>
            <p:cNvSpPr>
              <a:spLocks/>
            </p:cNvSpPr>
            <p:nvPr userDrawn="1"/>
          </p:nvSpPr>
          <p:spPr bwMode="auto">
            <a:xfrm>
              <a:off x="4013201" y="6711950"/>
              <a:ext cx="720725" cy="492125"/>
            </a:xfrm>
            <a:custGeom>
              <a:avLst/>
              <a:gdLst>
                <a:gd name="T0" fmla="*/ 312 w 396"/>
                <a:gd name="T1" fmla="*/ 270 h 270"/>
                <a:gd name="T2" fmla="*/ 312 w 396"/>
                <a:gd name="T3" fmla="*/ 108 h 270"/>
                <a:gd name="T4" fmla="*/ 305 w 396"/>
                <a:gd name="T5" fmla="*/ 44 h 270"/>
                <a:gd name="T6" fmla="*/ 275 w 396"/>
                <a:gd name="T7" fmla="*/ 25 h 270"/>
                <a:gd name="T8" fmla="*/ 236 w 396"/>
                <a:gd name="T9" fmla="*/ 52 h 270"/>
                <a:gd name="T10" fmla="*/ 225 w 396"/>
                <a:gd name="T11" fmla="*/ 84 h 270"/>
                <a:gd name="T12" fmla="*/ 223 w 396"/>
                <a:gd name="T13" fmla="*/ 134 h 270"/>
                <a:gd name="T14" fmla="*/ 223 w 396"/>
                <a:gd name="T15" fmla="*/ 205 h 270"/>
                <a:gd name="T16" fmla="*/ 230 w 396"/>
                <a:gd name="T17" fmla="*/ 245 h 270"/>
                <a:gd name="T18" fmla="*/ 252 w 396"/>
                <a:gd name="T19" fmla="*/ 252 h 270"/>
                <a:gd name="T20" fmla="*/ 261 w 396"/>
                <a:gd name="T21" fmla="*/ 252 h 270"/>
                <a:gd name="T22" fmla="*/ 261 w 396"/>
                <a:gd name="T23" fmla="*/ 270 h 270"/>
                <a:gd name="T24" fmla="*/ 175 w 396"/>
                <a:gd name="T25" fmla="*/ 270 h 270"/>
                <a:gd name="T26" fmla="*/ 175 w 396"/>
                <a:gd name="T27" fmla="*/ 117 h 270"/>
                <a:gd name="T28" fmla="*/ 173 w 396"/>
                <a:gd name="T29" fmla="*/ 66 h 270"/>
                <a:gd name="T30" fmla="*/ 137 w 396"/>
                <a:gd name="T31" fmla="*/ 25 h 270"/>
                <a:gd name="T32" fmla="*/ 99 w 396"/>
                <a:gd name="T33" fmla="*/ 53 h 270"/>
                <a:gd name="T34" fmla="*/ 89 w 396"/>
                <a:gd name="T35" fmla="*/ 81 h 270"/>
                <a:gd name="T36" fmla="*/ 86 w 396"/>
                <a:gd name="T37" fmla="*/ 134 h 270"/>
                <a:gd name="T38" fmla="*/ 86 w 396"/>
                <a:gd name="T39" fmla="*/ 205 h 270"/>
                <a:gd name="T40" fmla="*/ 93 w 396"/>
                <a:gd name="T41" fmla="*/ 245 h 270"/>
                <a:gd name="T42" fmla="*/ 116 w 396"/>
                <a:gd name="T43" fmla="*/ 252 h 270"/>
                <a:gd name="T44" fmla="*/ 124 w 396"/>
                <a:gd name="T45" fmla="*/ 252 h 270"/>
                <a:gd name="T46" fmla="*/ 124 w 396"/>
                <a:gd name="T47" fmla="*/ 270 h 270"/>
                <a:gd name="T48" fmla="*/ 0 w 396"/>
                <a:gd name="T49" fmla="*/ 270 h 270"/>
                <a:gd name="T50" fmla="*/ 0 w 396"/>
                <a:gd name="T51" fmla="*/ 252 h 270"/>
                <a:gd name="T52" fmla="*/ 9 w 396"/>
                <a:gd name="T53" fmla="*/ 252 h 270"/>
                <a:gd name="T54" fmla="*/ 31 w 396"/>
                <a:gd name="T55" fmla="*/ 245 h 270"/>
                <a:gd name="T56" fmla="*/ 38 w 396"/>
                <a:gd name="T57" fmla="*/ 205 h 270"/>
                <a:gd name="T58" fmla="*/ 38 w 396"/>
                <a:gd name="T59" fmla="*/ 69 h 270"/>
                <a:gd name="T60" fmla="*/ 31 w 396"/>
                <a:gd name="T61" fmla="*/ 30 h 270"/>
                <a:gd name="T62" fmla="*/ 9 w 396"/>
                <a:gd name="T63" fmla="*/ 24 h 270"/>
                <a:gd name="T64" fmla="*/ 2 w 396"/>
                <a:gd name="T65" fmla="*/ 24 h 270"/>
                <a:gd name="T66" fmla="*/ 2 w 396"/>
                <a:gd name="T67" fmla="*/ 6 h 270"/>
                <a:gd name="T68" fmla="*/ 83 w 396"/>
                <a:gd name="T69" fmla="*/ 2 h 270"/>
                <a:gd name="T70" fmla="*/ 83 w 396"/>
                <a:gd name="T71" fmla="*/ 49 h 270"/>
                <a:gd name="T72" fmla="*/ 99 w 396"/>
                <a:gd name="T73" fmla="*/ 23 h 270"/>
                <a:gd name="T74" fmla="*/ 150 w 396"/>
                <a:gd name="T75" fmla="*/ 0 h 270"/>
                <a:gd name="T76" fmla="*/ 217 w 396"/>
                <a:gd name="T77" fmla="*/ 52 h 270"/>
                <a:gd name="T78" fmla="*/ 288 w 396"/>
                <a:gd name="T79" fmla="*/ 0 h 270"/>
                <a:gd name="T80" fmla="*/ 346 w 396"/>
                <a:gd name="T81" fmla="*/ 30 h 270"/>
                <a:gd name="T82" fmla="*/ 358 w 396"/>
                <a:gd name="T83" fmla="*/ 66 h 270"/>
                <a:gd name="T84" fmla="*/ 360 w 396"/>
                <a:gd name="T85" fmla="*/ 102 h 270"/>
                <a:gd name="T86" fmla="*/ 360 w 396"/>
                <a:gd name="T87" fmla="*/ 205 h 270"/>
                <a:gd name="T88" fmla="*/ 367 w 396"/>
                <a:gd name="T89" fmla="*/ 245 h 270"/>
                <a:gd name="T90" fmla="*/ 389 w 396"/>
                <a:gd name="T91" fmla="*/ 252 h 270"/>
                <a:gd name="T92" fmla="*/ 396 w 396"/>
                <a:gd name="T93" fmla="*/ 252 h 270"/>
                <a:gd name="T94" fmla="*/ 396 w 396"/>
                <a:gd name="T95" fmla="*/ 270 h 270"/>
                <a:gd name="T96" fmla="*/ 312 w 396"/>
                <a:gd name="T97" fmla="*/ 27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96" h="270">
                  <a:moveTo>
                    <a:pt x="312" y="270"/>
                  </a:moveTo>
                  <a:cubicBezTo>
                    <a:pt x="312" y="108"/>
                    <a:pt x="312" y="108"/>
                    <a:pt x="312" y="108"/>
                  </a:cubicBezTo>
                  <a:cubicBezTo>
                    <a:pt x="312" y="75"/>
                    <a:pt x="309" y="54"/>
                    <a:pt x="305" y="44"/>
                  </a:cubicBezTo>
                  <a:cubicBezTo>
                    <a:pt x="298" y="31"/>
                    <a:pt x="288" y="25"/>
                    <a:pt x="275" y="25"/>
                  </a:cubicBezTo>
                  <a:cubicBezTo>
                    <a:pt x="259" y="25"/>
                    <a:pt x="246" y="34"/>
                    <a:pt x="236" y="52"/>
                  </a:cubicBezTo>
                  <a:cubicBezTo>
                    <a:pt x="231" y="62"/>
                    <a:pt x="227" y="73"/>
                    <a:pt x="225" y="84"/>
                  </a:cubicBezTo>
                  <a:cubicBezTo>
                    <a:pt x="224" y="93"/>
                    <a:pt x="223" y="109"/>
                    <a:pt x="223" y="134"/>
                  </a:cubicBezTo>
                  <a:cubicBezTo>
                    <a:pt x="223" y="205"/>
                    <a:pt x="223" y="205"/>
                    <a:pt x="223" y="205"/>
                  </a:cubicBezTo>
                  <a:cubicBezTo>
                    <a:pt x="223" y="226"/>
                    <a:pt x="226" y="240"/>
                    <a:pt x="230" y="245"/>
                  </a:cubicBezTo>
                  <a:cubicBezTo>
                    <a:pt x="234" y="250"/>
                    <a:pt x="242" y="252"/>
                    <a:pt x="252" y="252"/>
                  </a:cubicBezTo>
                  <a:cubicBezTo>
                    <a:pt x="261" y="252"/>
                    <a:pt x="261" y="252"/>
                    <a:pt x="261" y="252"/>
                  </a:cubicBezTo>
                  <a:cubicBezTo>
                    <a:pt x="261" y="270"/>
                    <a:pt x="261" y="270"/>
                    <a:pt x="261" y="270"/>
                  </a:cubicBezTo>
                  <a:cubicBezTo>
                    <a:pt x="175" y="270"/>
                    <a:pt x="175" y="270"/>
                    <a:pt x="175" y="270"/>
                  </a:cubicBezTo>
                  <a:cubicBezTo>
                    <a:pt x="175" y="117"/>
                    <a:pt x="175" y="117"/>
                    <a:pt x="175" y="117"/>
                  </a:cubicBezTo>
                  <a:cubicBezTo>
                    <a:pt x="175" y="91"/>
                    <a:pt x="174" y="74"/>
                    <a:pt x="173" y="66"/>
                  </a:cubicBezTo>
                  <a:cubicBezTo>
                    <a:pt x="169" y="39"/>
                    <a:pt x="157" y="25"/>
                    <a:pt x="137" y="25"/>
                  </a:cubicBezTo>
                  <a:cubicBezTo>
                    <a:pt x="121" y="25"/>
                    <a:pt x="108" y="34"/>
                    <a:pt x="99" y="53"/>
                  </a:cubicBezTo>
                  <a:cubicBezTo>
                    <a:pt x="94" y="62"/>
                    <a:pt x="91" y="71"/>
                    <a:pt x="89" y="81"/>
                  </a:cubicBezTo>
                  <a:cubicBezTo>
                    <a:pt x="87" y="91"/>
                    <a:pt x="86" y="108"/>
                    <a:pt x="86" y="134"/>
                  </a:cubicBezTo>
                  <a:cubicBezTo>
                    <a:pt x="86" y="205"/>
                    <a:pt x="86" y="205"/>
                    <a:pt x="86" y="205"/>
                  </a:cubicBezTo>
                  <a:cubicBezTo>
                    <a:pt x="86" y="227"/>
                    <a:pt x="89" y="240"/>
                    <a:pt x="93" y="245"/>
                  </a:cubicBezTo>
                  <a:cubicBezTo>
                    <a:pt x="97" y="250"/>
                    <a:pt x="105" y="252"/>
                    <a:pt x="116" y="252"/>
                  </a:cubicBezTo>
                  <a:cubicBezTo>
                    <a:pt x="124" y="252"/>
                    <a:pt x="124" y="252"/>
                    <a:pt x="124" y="252"/>
                  </a:cubicBezTo>
                  <a:cubicBezTo>
                    <a:pt x="124" y="270"/>
                    <a:pt x="124" y="270"/>
                    <a:pt x="124" y="270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252"/>
                    <a:pt x="0" y="252"/>
                    <a:pt x="0" y="252"/>
                  </a:cubicBezTo>
                  <a:cubicBezTo>
                    <a:pt x="9" y="252"/>
                    <a:pt x="9" y="252"/>
                    <a:pt x="9" y="252"/>
                  </a:cubicBezTo>
                  <a:cubicBezTo>
                    <a:pt x="19" y="252"/>
                    <a:pt x="27" y="250"/>
                    <a:pt x="31" y="245"/>
                  </a:cubicBezTo>
                  <a:cubicBezTo>
                    <a:pt x="36" y="240"/>
                    <a:pt x="38" y="226"/>
                    <a:pt x="38" y="205"/>
                  </a:cubicBezTo>
                  <a:cubicBezTo>
                    <a:pt x="38" y="69"/>
                    <a:pt x="38" y="69"/>
                    <a:pt x="38" y="69"/>
                  </a:cubicBezTo>
                  <a:cubicBezTo>
                    <a:pt x="38" y="49"/>
                    <a:pt x="36" y="36"/>
                    <a:pt x="31" y="30"/>
                  </a:cubicBezTo>
                  <a:cubicBezTo>
                    <a:pt x="27" y="26"/>
                    <a:pt x="19" y="24"/>
                    <a:pt x="9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83" y="2"/>
                    <a:pt x="83" y="2"/>
                    <a:pt x="83" y="2"/>
                  </a:cubicBezTo>
                  <a:cubicBezTo>
                    <a:pt x="83" y="49"/>
                    <a:pt x="83" y="49"/>
                    <a:pt x="83" y="49"/>
                  </a:cubicBezTo>
                  <a:cubicBezTo>
                    <a:pt x="87" y="39"/>
                    <a:pt x="92" y="31"/>
                    <a:pt x="99" y="23"/>
                  </a:cubicBezTo>
                  <a:cubicBezTo>
                    <a:pt x="113" y="8"/>
                    <a:pt x="130" y="0"/>
                    <a:pt x="150" y="0"/>
                  </a:cubicBezTo>
                  <a:cubicBezTo>
                    <a:pt x="181" y="0"/>
                    <a:pt x="203" y="18"/>
                    <a:pt x="217" y="52"/>
                  </a:cubicBezTo>
                  <a:cubicBezTo>
                    <a:pt x="234" y="18"/>
                    <a:pt x="257" y="0"/>
                    <a:pt x="288" y="0"/>
                  </a:cubicBezTo>
                  <a:cubicBezTo>
                    <a:pt x="314" y="0"/>
                    <a:pt x="333" y="10"/>
                    <a:pt x="346" y="30"/>
                  </a:cubicBezTo>
                  <a:cubicBezTo>
                    <a:pt x="353" y="41"/>
                    <a:pt x="357" y="53"/>
                    <a:pt x="358" y="66"/>
                  </a:cubicBezTo>
                  <a:cubicBezTo>
                    <a:pt x="359" y="77"/>
                    <a:pt x="360" y="89"/>
                    <a:pt x="360" y="102"/>
                  </a:cubicBezTo>
                  <a:cubicBezTo>
                    <a:pt x="360" y="205"/>
                    <a:pt x="360" y="205"/>
                    <a:pt x="360" y="205"/>
                  </a:cubicBezTo>
                  <a:cubicBezTo>
                    <a:pt x="360" y="226"/>
                    <a:pt x="362" y="240"/>
                    <a:pt x="367" y="245"/>
                  </a:cubicBezTo>
                  <a:cubicBezTo>
                    <a:pt x="371" y="250"/>
                    <a:pt x="378" y="252"/>
                    <a:pt x="389" y="252"/>
                  </a:cubicBezTo>
                  <a:cubicBezTo>
                    <a:pt x="396" y="252"/>
                    <a:pt x="396" y="252"/>
                    <a:pt x="396" y="252"/>
                  </a:cubicBezTo>
                  <a:cubicBezTo>
                    <a:pt x="396" y="270"/>
                    <a:pt x="396" y="270"/>
                    <a:pt x="396" y="270"/>
                  </a:cubicBezTo>
                  <a:lnTo>
                    <a:pt x="312" y="2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" name="Freeform 16"/>
            <p:cNvSpPr>
              <a:spLocks/>
            </p:cNvSpPr>
            <p:nvPr userDrawn="1"/>
          </p:nvSpPr>
          <p:spPr bwMode="auto">
            <a:xfrm>
              <a:off x="4783138" y="6711950"/>
              <a:ext cx="333375" cy="500063"/>
            </a:xfrm>
            <a:custGeom>
              <a:avLst/>
              <a:gdLst>
                <a:gd name="T0" fmla="*/ 168 w 184"/>
                <a:gd name="T1" fmla="*/ 6 h 275"/>
                <a:gd name="T2" fmla="*/ 168 w 184"/>
                <a:gd name="T3" fmla="*/ 89 h 275"/>
                <a:gd name="T4" fmla="*/ 151 w 184"/>
                <a:gd name="T5" fmla="*/ 89 h 275"/>
                <a:gd name="T6" fmla="*/ 84 w 184"/>
                <a:gd name="T7" fmla="*/ 17 h 275"/>
                <a:gd name="T8" fmla="*/ 53 w 184"/>
                <a:gd name="T9" fmla="*/ 28 h 275"/>
                <a:gd name="T10" fmla="*/ 41 w 184"/>
                <a:gd name="T11" fmla="*/ 57 h 275"/>
                <a:gd name="T12" fmla="*/ 58 w 184"/>
                <a:gd name="T13" fmla="*/ 88 h 275"/>
                <a:gd name="T14" fmla="*/ 88 w 184"/>
                <a:gd name="T15" fmla="*/ 101 h 275"/>
                <a:gd name="T16" fmla="*/ 152 w 184"/>
                <a:gd name="T17" fmla="*/ 128 h 275"/>
                <a:gd name="T18" fmla="*/ 184 w 184"/>
                <a:gd name="T19" fmla="*/ 191 h 275"/>
                <a:gd name="T20" fmla="*/ 156 w 184"/>
                <a:gd name="T21" fmla="*/ 255 h 275"/>
                <a:gd name="T22" fmla="*/ 98 w 184"/>
                <a:gd name="T23" fmla="*/ 275 h 275"/>
                <a:gd name="T24" fmla="*/ 59 w 184"/>
                <a:gd name="T25" fmla="*/ 268 h 275"/>
                <a:gd name="T26" fmla="*/ 33 w 184"/>
                <a:gd name="T27" fmla="*/ 254 h 275"/>
                <a:gd name="T28" fmla="*/ 26 w 184"/>
                <a:gd name="T29" fmla="*/ 252 h 275"/>
                <a:gd name="T30" fmla="*/ 16 w 184"/>
                <a:gd name="T31" fmla="*/ 270 h 275"/>
                <a:gd name="T32" fmla="*/ 0 w 184"/>
                <a:gd name="T33" fmla="*/ 270 h 275"/>
                <a:gd name="T34" fmla="*/ 0 w 184"/>
                <a:gd name="T35" fmla="*/ 172 h 275"/>
                <a:gd name="T36" fmla="*/ 16 w 184"/>
                <a:gd name="T37" fmla="*/ 172 h 275"/>
                <a:gd name="T38" fmla="*/ 37 w 184"/>
                <a:gd name="T39" fmla="*/ 224 h 275"/>
                <a:gd name="T40" fmla="*/ 63 w 184"/>
                <a:gd name="T41" fmla="*/ 248 h 275"/>
                <a:gd name="T42" fmla="*/ 97 w 184"/>
                <a:gd name="T43" fmla="*/ 257 h 275"/>
                <a:gd name="T44" fmla="*/ 131 w 184"/>
                <a:gd name="T45" fmla="*/ 242 h 275"/>
                <a:gd name="T46" fmla="*/ 144 w 184"/>
                <a:gd name="T47" fmla="*/ 210 h 275"/>
                <a:gd name="T48" fmla="*/ 120 w 184"/>
                <a:gd name="T49" fmla="*/ 170 h 275"/>
                <a:gd name="T50" fmla="*/ 69 w 184"/>
                <a:gd name="T51" fmla="*/ 149 h 275"/>
                <a:gd name="T52" fmla="*/ 28 w 184"/>
                <a:gd name="T53" fmla="*/ 128 h 275"/>
                <a:gd name="T54" fmla="*/ 2 w 184"/>
                <a:gd name="T55" fmla="*/ 72 h 275"/>
                <a:gd name="T56" fmla="*/ 26 w 184"/>
                <a:gd name="T57" fmla="*/ 19 h 275"/>
                <a:gd name="T58" fmla="*/ 80 w 184"/>
                <a:gd name="T59" fmla="*/ 0 h 275"/>
                <a:gd name="T60" fmla="*/ 134 w 184"/>
                <a:gd name="T61" fmla="*/ 16 h 275"/>
                <a:gd name="T62" fmla="*/ 142 w 184"/>
                <a:gd name="T63" fmla="*/ 19 h 275"/>
                <a:gd name="T64" fmla="*/ 151 w 184"/>
                <a:gd name="T65" fmla="*/ 6 h 275"/>
                <a:gd name="T66" fmla="*/ 168 w 184"/>
                <a:gd name="T67" fmla="*/ 6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84" h="275">
                  <a:moveTo>
                    <a:pt x="168" y="6"/>
                  </a:moveTo>
                  <a:cubicBezTo>
                    <a:pt x="168" y="89"/>
                    <a:pt x="168" y="89"/>
                    <a:pt x="168" y="89"/>
                  </a:cubicBezTo>
                  <a:cubicBezTo>
                    <a:pt x="151" y="89"/>
                    <a:pt x="151" y="89"/>
                    <a:pt x="151" y="89"/>
                  </a:cubicBezTo>
                  <a:cubicBezTo>
                    <a:pt x="141" y="41"/>
                    <a:pt x="119" y="17"/>
                    <a:pt x="84" y="17"/>
                  </a:cubicBezTo>
                  <a:cubicBezTo>
                    <a:pt x="71" y="17"/>
                    <a:pt x="61" y="21"/>
                    <a:pt x="53" y="28"/>
                  </a:cubicBezTo>
                  <a:cubicBezTo>
                    <a:pt x="45" y="36"/>
                    <a:pt x="41" y="46"/>
                    <a:pt x="41" y="57"/>
                  </a:cubicBezTo>
                  <a:cubicBezTo>
                    <a:pt x="41" y="70"/>
                    <a:pt x="46" y="80"/>
                    <a:pt x="58" y="88"/>
                  </a:cubicBezTo>
                  <a:cubicBezTo>
                    <a:pt x="63" y="92"/>
                    <a:pt x="74" y="96"/>
                    <a:pt x="88" y="101"/>
                  </a:cubicBezTo>
                  <a:cubicBezTo>
                    <a:pt x="120" y="111"/>
                    <a:pt x="142" y="120"/>
                    <a:pt x="152" y="128"/>
                  </a:cubicBezTo>
                  <a:cubicBezTo>
                    <a:pt x="173" y="144"/>
                    <a:pt x="184" y="165"/>
                    <a:pt x="184" y="191"/>
                  </a:cubicBezTo>
                  <a:cubicBezTo>
                    <a:pt x="184" y="217"/>
                    <a:pt x="175" y="238"/>
                    <a:pt x="156" y="255"/>
                  </a:cubicBezTo>
                  <a:cubicBezTo>
                    <a:pt x="141" y="269"/>
                    <a:pt x="121" y="275"/>
                    <a:pt x="98" y="275"/>
                  </a:cubicBezTo>
                  <a:cubicBezTo>
                    <a:pt x="84" y="275"/>
                    <a:pt x="71" y="273"/>
                    <a:pt x="59" y="268"/>
                  </a:cubicBezTo>
                  <a:cubicBezTo>
                    <a:pt x="55" y="266"/>
                    <a:pt x="46" y="262"/>
                    <a:pt x="33" y="254"/>
                  </a:cubicBezTo>
                  <a:cubicBezTo>
                    <a:pt x="31" y="253"/>
                    <a:pt x="28" y="252"/>
                    <a:pt x="26" y="252"/>
                  </a:cubicBezTo>
                  <a:cubicBezTo>
                    <a:pt x="23" y="252"/>
                    <a:pt x="19" y="258"/>
                    <a:pt x="16" y="270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172"/>
                    <a:pt x="0" y="172"/>
                    <a:pt x="0" y="172"/>
                  </a:cubicBezTo>
                  <a:cubicBezTo>
                    <a:pt x="16" y="172"/>
                    <a:pt x="16" y="172"/>
                    <a:pt x="16" y="172"/>
                  </a:cubicBezTo>
                  <a:cubicBezTo>
                    <a:pt x="22" y="196"/>
                    <a:pt x="29" y="214"/>
                    <a:pt x="37" y="224"/>
                  </a:cubicBezTo>
                  <a:cubicBezTo>
                    <a:pt x="44" y="234"/>
                    <a:pt x="52" y="242"/>
                    <a:pt x="63" y="248"/>
                  </a:cubicBezTo>
                  <a:cubicBezTo>
                    <a:pt x="74" y="254"/>
                    <a:pt x="85" y="257"/>
                    <a:pt x="97" y="257"/>
                  </a:cubicBezTo>
                  <a:cubicBezTo>
                    <a:pt x="112" y="257"/>
                    <a:pt x="123" y="252"/>
                    <a:pt x="131" y="242"/>
                  </a:cubicBezTo>
                  <a:cubicBezTo>
                    <a:pt x="139" y="233"/>
                    <a:pt x="144" y="222"/>
                    <a:pt x="144" y="210"/>
                  </a:cubicBezTo>
                  <a:cubicBezTo>
                    <a:pt x="144" y="193"/>
                    <a:pt x="136" y="179"/>
                    <a:pt x="120" y="170"/>
                  </a:cubicBezTo>
                  <a:cubicBezTo>
                    <a:pt x="112" y="164"/>
                    <a:pt x="95" y="158"/>
                    <a:pt x="69" y="149"/>
                  </a:cubicBezTo>
                  <a:cubicBezTo>
                    <a:pt x="52" y="144"/>
                    <a:pt x="39" y="137"/>
                    <a:pt x="28" y="128"/>
                  </a:cubicBezTo>
                  <a:cubicBezTo>
                    <a:pt x="11" y="115"/>
                    <a:pt x="2" y="97"/>
                    <a:pt x="2" y="72"/>
                  </a:cubicBezTo>
                  <a:cubicBezTo>
                    <a:pt x="2" y="50"/>
                    <a:pt x="10" y="32"/>
                    <a:pt x="26" y="19"/>
                  </a:cubicBezTo>
                  <a:cubicBezTo>
                    <a:pt x="40" y="6"/>
                    <a:pt x="58" y="0"/>
                    <a:pt x="80" y="0"/>
                  </a:cubicBezTo>
                  <a:cubicBezTo>
                    <a:pt x="99" y="0"/>
                    <a:pt x="117" y="5"/>
                    <a:pt x="134" y="16"/>
                  </a:cubicBezTo>
                  <a:cubicBezTo>
                    <a:pt x="138" y="18"/>
                    <a:pt x="140" y="19"/>
                    <a:pt x="142" y="19"/>
                  </a:cubicBezTo>
                  <a:cubicBezTo>
                    <a:pt x="146" y="19"/>
                    <a:pt x="149" y="14"/>
                    <a:pt x="151" y="6"/>
                  </a:cubicBezTo>
                  <a:lnTo>
                    <a:pt x="168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" name="Freeform 17"/>
            <p:cNvSpPr>
              <a:spLocks/>
            </p:cNvSpPr>
            <p:nvPr userDrawn="1"/>
          </p:nvSpPr>
          <p:spPr bwMode="auto">
            <a:xfrm>
              <a:off x="5227638" y="6811963"/>
              <a:ext cx="146050" cy="147638"/>
            </a:xfrm>
            <a:custGeom>
              <a:avLst/>
              <a:gdLst>
                <a:gd name="T0" fmla="*/ 0 w 92"/>
                <a:gd name="T1" fmla="*/ 93 h 93"/>
                <a:gd name="T2" fmla="*/ 0 w 92"/>
                <a:gd name="T3" fmla="*/ 0 h 93"/>
                <a:gd name="T4" fmla="*/ 51 w 92"/>
                <a:gd name="T5" fmla="*/ 0 h 93"/>
                <a:gd name="T6" fmla="*/ 92 w 92"/>
                <a:gd name="T7" fmla="*/ 0 h 93"/>
                <a:gd name="T8" fmla="*/ 92 w 92"/>
                <a:gd name="T9" fmla="*/ 93 h 93"/>
                <a:gd name="T10" fmla="*/ 0 w 92"/>
                <a:gd name="T11" fmla="*/ 93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2" h="93">
                  <a:moveTo>
                    <a:pt x="0" y="93"/>
                  </a:moveTo>
                  <a:lnTo>
                    <a:pt x="0" y="0"/>
                  </a:lnTo>
                  <a:lnTo>
                    <a:pt x="51" y="0"/>
                  </a:lnTo>
                  <a:lnTo>
                    <a:pt x="92" y="0"/>
                  </a:lnTo>
                  <a:lnTo>
                    <a:pt x="92" y="93"/>
                  </a:lnTo>
                  <a:lnTo>
                    <a:pt x="0" y="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22210183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Living Magenta vertical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 userDrawn="1"/>
        </p:nvSpPr>
        <p:spPr bwMode="gray">
          <a:xfrm>
            <a:off x="5040313" y="0"/>
            <a:ext cx="5040312" cy="7559502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62993" tIns="62993" rIns="62993" bIns="62993" rtlCol="0" anchor="ctr"/>
          <a:lstStyle/>
          <a:p>
            <a:pPr indent="2778" algn="ctr" defTabSz="400086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575" dirty="0" smtClean="0">
              <a:cs typeface="Arial" charset="0"/>
            </a:endParaRPr>
          </a:p>
        </p:txBody>
      </p:sp>
      <p:sp>
        <p:nvSpPr>
          <p:cNvPr id="6" name="Titelplatzhalter 1"/>
          <p:cNvSpPr>
            <a:spLocks noGrp="1"/>
          </p:cNvSpPr>
          <p:nvPr>
            <p:ph type="ctrTitle" hasCustomPrompt="1"/>
          </p:nvPr>
        </p:nvSpPr>
        <p:spPr bwMode="gray">
          <a:xfrm>
            <a:off x="5400000" y="360000"/>
            <a:ext cx="4320000" cy="6120000"/>
          </a:xfrm>
          <a:noFill/>
        </p:spPr>
        <p:txBody>
          <a:bodyPr wrap="square" lIns="0" tIns="0" anchor="ctr">
            <a:noAutofit/>
          </a:bodyPr>
          <a:lstStyle>
            <a:lvl1pPr>
              <a:defRPr sz="4500" baseline="0" smtClean="0">
                <a:solidFill>
                  <a:schemeClr val="tx2"/>
                </a:solidFill>
                <a:latin typeface="TeleGrotesk Headline" pitchFamily="2" charset="0"/>
              </a:defRPr>
            </a:lvl1pPr>
          </a:lstStyle>
          <a:p>
            <a:r>
              <a:rPr lang="en-US" dirty="0" smtClean="0"/>
              <a:t>01</a:t>
            </a:r>
            <a:br>
              <a:rPr lang="en-US" dirty="0" smtClean="0"/>
            </a:br>
            <a:r>
              <a:rPr lang="en-US" dirty="0" err="1" smtClean="0"/>
              <a:t>TeleGrotesk</a:t>
            </a:r>
            <a:r>
              <a:rPr lang="en-US" dirty="0" smtClean="0"/>
              <a:t> Headline</a:t>
            </a:r>
            <a:br>
              <a:rPr lang="en-US" dirty="0" smtClean="0"/>
            </a:br>
            <a:r>
              <a:rPr lang="en-US" dirty="0" smtClean="0"/>
              <a:t>(45) 60 PT</a:t>
            </a:r>
          </a:p>
        </p:txBody>
      </p:sp>
    </p:spTree>
    <p:extLst>
      <p:ext uri="{BB962C8B-B14F-4D97-AF65-F5344CB8AC3E}">
        <p14:creationId xmlns:p14="http://schemas.microsoft.com/office/powerpoint/2010/main" val="739119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-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0080625" cy="7561263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 noProof="0" smtClean="0"/>
              <a:t>dd.mm.yyyy</a:t>
            </a:r>
            <a:endParaRPr lang="en-US" noProof="0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12C068DA-D53D-462E-BFC0-FE45A468E8EF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/>
              <a:t>PTE MIK PM1 2018/19-1        -        PMO Basic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1722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60000" y="1620000"/>
            <a:ext cx="4608000" cy="4860000"/>
          </a:xfrm>
        </p:spPr>
        <p:txBody>
          <a:bodyPr anchor="ctr"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smtClean="0"/>
              <a:t>Click to edit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5112000" y="1"/>
            <a:ext cx="4968000" cy="7561263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>
          <a:xfrm>
            <a:off x="360001" y="280800"/>
            <a:ext cx="4607999" cy="908238"/>
          </a:xfrm>
        </p:spPr>
        <p:txBody>
          <a:bodyPr/>
          <a:lstStyle/>
          <a:p>
            <a:r>
              <a:rPr lang="en-US" dirty="0" err="1" smtClean="0"/>
              <a:t>TeleGrotesk</a:t>
            </a:r>
            <a:r>
              <a:rPr lang="en-US" dirty="0" smtClean="0"/>
              <a:t> Headline Ultra 28 (32) 40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 smtClean="0"/>
              <a:t>dd.mm.yyyy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 smtClean="0"/>
              <a:t>PTE MIK PM1 2018/19-1        -        PMO Basics</a:t>
            </a:r>
            <a:endParaRPr lang="en-US" noProof="0" dirty="0" smtClean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2C068DA-D53D-462E-BFC0-FE45A468E8EF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19689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5112000" y="1620000"/>
            <a:ext cx="4608000" cy="4896000"/>
          </a:xfrm>
        </p:spPr>
        <p:txBody>
          <a:bodyPr anchor="ctr"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smtClean="0"/>
              <a:t>Click to edit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4968000" cy="7561263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>
          <a:xfrm>
            <a:off x="5112000" y="280800"/>
            <a:ext cx="4608250" cy="908238"/>
          </a:xfrm>
        </p:spPr>
        <p:txBody>
          <a:bodyPr/>
          <a:lstStyle/>
          <a:p>
            <a:r>
              <a:rPr lang="en-US" dirty="0" err="1" smtClean="0"/>
              <a:t>TeleGrotesk</a:t>
            </a:r>
            <a:r>
              <a:rPr lang="en-US" dirty="0" smtClean="0"/>
              <a:t> Headline Ultra 28 (32) 40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 smtClean="0"/>
              <a:t>dd.mm.yyyy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 smtClean="0"/>
              <a:t>PTE MIK PM1 2018/19-1        -        PMO Basics</a:t>
            </a:r>
            <a:endParaRPr lang="en-US" noProof="0" dirty="0" smtClean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2C068DA-D53D-462E-BFC0-FE45A468E8EF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424800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dd.mm.yyyy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smtClean="0"/>
              <a:t>PTE MIK PM1 2018/19-1        -        PMO Basics</a:t>
            </a:r>
            <a:endParaRPr lang="en-US" noProof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C068DA-D53D-462E-BFC0-FE45A468E8EF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 smtClean="0"/>
              <a:t>dd.mm.yyyy</a:t>
            </a:r>
            <a:endParaRPr lang="en-US" noProof="0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185B2FC-D18E-4EA2-A103-6DCF88856111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PTE MIK PM1 2018/19-1        -        PMO Basics</a:t>
            </a:r>
            <a:endParaRPr lang="en-US" noProof="0" dirty="0" smtClean="0"/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err="1" smtClean="0"/>
              <a:t>TeleGrotesk</a:t>
            </a:r>
            <a:r>
              <a:rPr lang="en-US" dirty="0" smtClean="0"/>
              <a:t> Headline Ultra 28 (32) 40 </a:t>
            </a:r>
            <a:r>
              <a:rPr lang="en-US" dirty="0" err="1" smtClean="0"/>
              <a:t>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38718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1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60000" y="1620000"/>
            <a:ext cx="9360000" cy="4860000"/>
          </a:xfrm>
        </p:spPr>
        <p:txBody>
          <a:bodyPr/>
          <a:lstStyle>
            <a:lvl3pPr>
              <a:buClr>
                <a:schemeClr val="tx1"/>
              </a:buClr>
              <a:defRPr/>
            </a:lvl3pPr>
            <a:lvl4pPr>
              <a:buClr>
                <a:schemeClr val="tx1"/>
              </a:buClr>
              <a:defRPr/>
            </a:lvl4pPr>
            <a:lvl5pPr>
              <a:buClr>
                <a:schemeClr val="tx1"/>
              </a:buClr>
              <a:defRPr/>
            </a:lvl5pPr>
          </a:lstStyle>
          <a:p>
            <a:pPr lvl="0"/>
            <a:r>
              <a:rPr lang="en-US" noProof="0" dirty="0" smtClean="0"/>
              <a:t>Click to edit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err="1" smtClean="0"/>
              <a:t>TeleGrotesk</a:t>
            </a:r>
            <a:r>
              <a:rPr lang="en-US" dirty="0" smtClean="0"/>
              <a:t> Headline Ultra 28 (32) 40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dd.mm.yyyy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smtClean="0"/>
              <a:t>PTE MIK PM1 2018/19-1        -        PMO Basics</a:t>
            </a:r>
            <a:endParaRPr lang="en-US" noProof="0" dirty="0" smtClean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C068DA-D53D-462E-BFC0-FE45A468E8EF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2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60000" y="1620000"/>
            <a:ext cx="4608000" cy="4860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smtClean="0"/>
              <a:t>Click to edit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5112000" y="1620000"/>
            <a:ext cx="4608000" cy="4860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smtClean="0"/>
              <a:t>Click to edit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5" name="Titel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err="1" smtClean="0"/>
              <a:t>TeleGrotesk</a:t>
            </a:r>
            <a:r>
              <a:rPr lang="en-US" dirty="0" smtClean="0"/>
              <a:t> Headline Ultra 28 (32) 40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dd.mm.yyyy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smtClean="0"/>
              <a:t>PTE MIK PM1 2018/19-1        -        PMO Basics</a:t>
            </a:r>
            <a:endParaRPr lang="en-US" noProof="0" dirty="0" smtClean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C068DA-D53D-462E-BFC0-FE45A468E8EF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3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60000" y="1620000"/>
            <a:ext cx="3008152" cy="4860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smtClean="0"/>
              <a:t>Click to edit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6713798" y="1620000"/>
            <a:ext cx="3008152" cy="4860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smtClean="0"/>
              <a:t>Click to edit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3537874" y="1620000"/>
            <a:ext cx="3008152" cy="4860000"/>
          </a:xfrm>
        </p:spPr>
        <p:txBody>
          <a:bodyPr/>
          <a:lstStyle/>
          <a:p>
            <a:pPr lvl="0"/>
            <a:r>
              <a:rPr lang="en-US" noProof="0" dirty="0" smtClean="0"/>
              <a:t>Click to edit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5" name="Titel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err="1" smtClean="0"/>
              <a:t>TeleGrotesk</a:t>
            </a:r>
            <a:r>
              <a:rPr lang="en-US" dirty="0" smtClean="0"/>
              <a:t> Headline Ultra 28 (32) 40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 smtClean="0"/>
              <a:t>dd.mm.yyyy</a:t>
            </a:r>
            <a:endParaRPr lang="en-US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 smtClean="0"/>
              <a:t>PTE MIK PM1 2018/19-1        -        PMO Basics</a:t>
            </a:r>
            <a:endParaRPr lang="en-US" noProof="0" dirty="0" smtClean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2C068DA-D53D-462E-BFC0-FE45A468E8EF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06163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4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60000" y="1620000"/>
            <a:ext cx="2232000" cy="4860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smtClean="0"/>
              <a:t>Click to edit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5112808" y="1620000"/>
            <a:ext cx="2232000" cy="4860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smtClean="0"/>
              <a:t>Click to edit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2737378" y="1620000"/>
            <a:ext cx="2232000" cy="4860000"/>
          </a:xfrm>
        </p:spPr>
        <p:txBody>
          <a:bodyPr/>
          <a:lstStyle/>
          <a:p>
            <a:pPr lvl="0"/>
            <a:r>
              <a:rPr lang="en-US" noProof="0" dirty="0" smtClean="0"/>
              <a:t>Click to edit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0" name="Inhaltsplatzhalter 3"/>
          <p:cNvSpPr>
            <a:spLocks noGrp="1"/>
          </p:cNvSpPr>
          <p:nvPr>
            <p:ph sz="half" idx="14" hasCustomPrompt="1"/>
          </p:nvPr>
        </p:nvSpPr>
        <p:spPr>
          <a:xfrm>
            <a:off x="7488238" y="1620000"/>
            <a:ext cx="2232000" cy="4860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smtClean="0"/>
              <a:t>Click to edit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5" name="Titel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err="1" smtClean="0"/>
              <a:t>TeleGrotesk</a:t>
            </a:r>
            <a:r>
              <a:rPr lang="en-US" dirty="0" smtClean="0"/>
              <a:t> Headline Ultra 28 (32) 40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 smtClean="0"/>
              <a:t>dd.mm.yyyy</a:t>
            </a:r>
            <a:endParaRPr lang="en-US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noProof="0" smtClean="0"/>
              <a:t>PTE MIK PM1 2018/19-1        -        PMO Basics</a:t>
            </a:r>
            <a:endParaRPr lang="en-US" noProof="0" dirty="0" smtClean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12C068DA-D53D-462E-BFC0-FE45A468E8EF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01314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lide vertical left">
    <p:bg bwMode="ltGray"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Objekt 6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588" y="1588"/>
            <a:ext cx="1587" cy="1587"/>
          </a:xfrm>
          <a:prstGeom prst="rect">
            <a:avLst/>
          </a:prstGeom>
          <a:noFill/>
        </p:spPr>
      </p:pic>
      <p:sp>
        <p:nvSpPr>
          <p:cNvPr id="34" name="Rechteck 33"/>
          <p:cNvSpPr/>
          <p:nvPr userDrawn="1"/>
        </p:nvSpPr>
        <p:spPr bwMode="white">
          <a:xfrm>
            <a:off x="0" y="0"/>
            <a:ext cx="5040313" cy="7561263"/>
          </a:xfrm>
          <a:prstGeom prst="rect">
            <a:avLst/>
          </a:prstGeom>
          <a:solidFill>
            <a:schemeClr val="tx2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800" dirty="0" smtClean="0">
              <a:cs typeface="Arial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black">
          <a:xfrm>
            <a:off x="360000" y="360000"/>
            <a:ext cx="4320000" cy="2502654"/>
          </a:xfrm>
        </p:spPr>
        <p:txBody>
          <a:bodyPr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Headline Ultra</a:t>
            </a:r>
            <a:br>
              <a:rPr lang="en-US" dirty="0" smtClean="0"/>
            </a:br>
            <a:r>
              <a:rPr lang="en-US" dirty="0" smtClean="0"/>
              <a:t>(60) 75 90 PT</a:t>
            </a:r>
            <a:endParaRPr lang="en-US" dirty="0"/>
          </a:p>
        </p:txBody>
      </p:sp>
      <p:sp>
        <p:nvSpPr>
          <p:cNvPr id="10" name="Textplatzhalter 2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360000" y="3781425"/>
            <a:ext cx="4320000" cy="10080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mtClean="0">
                <a:solidFill>
                  <a:schemeClr val="bg1"/>
                </a:solidFill>
              </a:defRPr>
            </a:lvl1pPr>
            <a:lvl2pPr>
              <a:defRPr lang="de-DE" smtClean="0">
                <a:solidFill>
                  <a:schemeClr val="bg1"/>
                </a:solidFill>
              </a:defRPr>
            </a:lvl2pPr>
            <a:lvl3pPr>
              <a:defRPr lang="de-DE" smtClean="0">
                <a:solidFill>
                  <a:schemeClr val="bg1"/>
                </a:solidFill>
              </a:defRPr>
            </a:lvl3pPr>
            <a:lvl4pPr>
              <a:defRPr lang="de-DE" smtClean="0">
                <a:solidFill>
                  <a:schemeClr val="bg1"/>
                </a:solidFill>
              </a:defRPr>
            </a:lvl4pPr>
            <a:lvl5pPr>
              <a:defRPr lang="de-DE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Sub-heading: Tele-</a:t>
            </a:r>
            <a:r>
              <a:rPr lang="en-US" dirty="0" err="1" smtClean="0"/>
              <a:t>GroteskFet</a:t>
            </a:r>
            <a:r>
              <a:rPr lang="en-US" dirty="0" smtClean="0"/>
              <a:t> 18 </a:t>
            </a:r>
            <a:r>
              <a:rPr lang="en-US" dirty="0" err="1" smtClean="0"/>
              <a:t>pt</a:t>
            </a:r>
            <a:endParaRPr lang="en-US" dirty="0"/>
          </a:p>
        </p:txBody>
      </p:sp>
      <p:grpSp>
        <p:nvGrpSpPr>
          <p:cNvPr id="8" name="Gruppieren 7"/>
          <p:cNvGrpSpPr/>
          <p:nvPr userDrawn="1"/>
        </p:nvGrpSpPr>
        <p:grpSpPr>
          <a:xfrm>
            <a:off x="360363" y="6659563"/>
            <a:ext cx="3765551" cy="684212"/>
            <a:chOff x="360363" y="6659563"/>
            <a:chExt cx="3765551" cy="684212"/>
          </a:xfrm>
          <a:solidFill>
            <a:schemeClr val="bg1"/>
          </a:solidFill>
        </p:grpSpPr>
        <p:sp>
          <p:nvSpPr>
            <p:cNvPr id="9" name="Freeform 5"/>
            <p:cNvSpPr>
              <a:spLocks/>
            </p:cNvSpPr>
            <p:nvPr userDrawn="1"/>
          </p:nvSpPr>
          <p:spPr bwMode="auto">
            <a:xfrm>
              <a:off x="360363" y="6908800"/>
              <a:ext cx="109538" cy="111125"/>
            </a:xfrm>
            <a:custGeom>
              <a:avLst/>
              <a:gdLst>
                <a:gd name="T0" fmla="*/ 0 w 69"/>
                <a:gd name="T1" fmla="*/ 70 h 70"/>
                <a:gd name="T2" fmla="*/ 0 w 69"/>
                <a:gd name="T3" fmla="*/ 0 h 70"/>
                <a:gd name="T4" fmla="*/ 34 w 69"/>
                <a:gd name="T5" fmla="*/ 0 h 70"/>
                <a:gd name="T6" fmla="*/ 69 w 69"/>
                <a:gd name="T7" fmla="*/ 0 h 70"/>
                <a:gd name="T8" fmla="*/ 69 w 69"/>
                <a:gd name="T9" fmla="*/ 70 h 70"/>
                <a:gd name="T10" fmla="*/ 0 w 69"/>
                <a:gd name="T11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9" h="70">
                  <a:moveTo>
                    <a:pt x="0" y="70"/>
                  </a:moveTo>
                  <a:lnTo>
                    <a:pt x="0" y="0"/>
                  </a:lnTo>
                  <a:lnTo>
                    <a:pt x="34" y="0"/>
                  </a:lnTo>
                  <a:lnTo>
                    <a:pt x="69" y="0"/>
                  </a:lnTo>
                  <a:lnTo>
                    <a:pt x="69" y="70"/>
                  </a:lnTo>
                  <a:lnTo>
                    <a:pt x="0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" name="Freeform 6"/>
            <p:cNvSpPr>
              <a:spLocks/>
            </p:cNvSpPr>
            <p:nvPr userDrawn="1"/>
          </p:nvSpPr>
          <p:spPr bwMode="auto">
            <a:xfrm>
              <a:off x="695326" y="6908800"/>
              <a:ext cx="109538" cy="111125"/>
            </a:xfrm>
            <a:custGeom>
              <a:avLst/>
              <a:gdLst>
                <a:gd name="T0" fmla="*/ 0 w 69"/>
                <a:gd name="T1" fmla="*/ 70 h 70"/>
                <a:gd name="T2" fmla="*/ 0 w 69"/>
                <a:gd name="T3" fmla="*/ 0 h 70"/>
                <a:gd name="T4" fmla="*/ 38 w 69"/>
                <a:gd name="T5" fmla="*/ 0 h 70"/>
                <a:gd name="T6" fmla="*/ 69 w 69"/>
                <a:gd name="T7" fmla="*/ 0 h 70"/>
                <a:gd name="T8" fmla="*/ 69 w 69"/>
                <a:gd name="T9" fmla="*/ 70 h 70"/>
                <a:gd name="T10" fmla="*/ 0 w 69"/>
                <a:gd name="T11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9" h="70">
                  <a:moveTo>
                    <a:pt x="0" y="70"/>
                  </a:moveTo>
                  <a:lnTo>
                    <a:pt x="0" y="0"/>
                  </a:lnTo>
                  <a:lnTo>
                    <a:pt x="38" y="0"/>
                  </a:lnTo>
                  <a:lnTo>
                    <a:pt x="69" y="0"/>
                  </a:lnTo>
                  <a:lnTo>
                    <a:pt x="69" y="70"/>
                  </a:lnTo>
                  <a:lnTo>
                    <a:pt x="0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" name="Freeform 7"/>
            <p:cNvSpPr>
              <a:spLocks/>
            </p:cNvSpPr>
            <p:nvPr userDrawn="1"/>
          </p:nvSpPr>
          <p:spPr bwMode="auto">
            <a:xfrm>
              <a:off x="1023938" y="6908800"/>
              <a:ext cx="111125" cy="111125"/>
            </a:xfrm>
            <a:custGeom>
              <a:avLst/>
              <a:gdLst>
                <a:gd name="T0" fmla="*/ 0 w 70"/>
                <a:gd name="T1" fmla="*/ 70 h 70"/>
                <a:gd name="T2" fmla="*/ 0 w 70"/>
                <a:gd name="T3" fmla="*/ 0 h 70"/>
                <a:gd name="T4" fmla="*/ 35 w 70"/>
                <a:gd name="T5" fmla="*/ 0 h 70"/>
                <a:gd name="T6" fmla="*/ 70 w 70"/>
                <a:gd name="T7" fmla="*/ 0 h 70"/>
                <a:gd name="T8" fmla="*/ 70 w 70"/>
                <a:gd name="T9" fmla="*/ 70 h 70"/>
                <a:gd name="T10" fmla="*/ 0 w 70"/>
                <a:gd name="T11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0" h="70">
                  <a:moveTo>
                    <a:pt x="0" y="70"/>
                  </a:moveTo>
                  <a:lnTo>
                    <a:pt x="0" y="0"/>
                  </a:lnTo>
                  <a:lnTo>
                    <a:pt x="35" y="0"/>
                  </a:lnTo>
                  <a:lnTo>
                    <a:pt x="70" y="0"/>
                  </a:lnTo>
                  <a:lnTo>
                    <a:pt x="70" y="70"/>
                  </a:lnTo>
                  <a:lnTo>
                    <a:pt x="0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354138" y="6908800"/>
              <a:ext cx="109538" cy="111125"/>
            </a:xfrm>
            <a:custGeom>
              <a:avLst/>
              <a:gdLst>
                <a:gd name="T0" fmla="*/ 0 w 69"/>
                <a:gd name="T1" fmla="*/ 70 h 70"/>
                <a:gd name="T2" fmla="*/ 0 w 69"/>
                <a:gd name="T3" fmla="*/ 0 h 70"/>
                <a:gd name="T4" fmla="*/ 31 w 69"/>
                <a:gd name="T5" fmla="*/ 0 h 70"/>
                <a:gd name="T6" fmla="*/ 69 w 69"/>
                <a:gd name="T7" fmla="*/ 0 h 70"/>
                <a:gd name="T8" fmla="*/ 69 w 69"/>
                <a:gd name="T9" fmla="*/ 70 h 70"/>
                <a:gd name="T10" fmla="*/ 0 w 69"/>
                <a:gd name="T11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9" h="70">
                  <a:moveTo>
                    <a:pt x="0" y="70"/>
                  </a:moveTo>
                  <a:lnTo>
                    <a:pt x="0" y="0"/>
                  </a:lnTo>
                  <a:lnTo>
                    <a:pt x="31" y="0"/>
                  </a:lnTo>
                  <a:lnTo>
                    <a:pt x="69" y="0"/>
                  </a:lnTo>
                  <a:lnTo>
                    <a:pt x="69" y="70"/>
                  </a:lnTo>
                  <a:lnTo>
                    <a:pt x="0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" name="Freeform 9"/>
            <p:cNvSpPr>
              <a:spLocks/>
            </p:cNvSpPr>
            <p:nvPr userDrawn="1"/>
          </p:nvSpPr>
          <p:spPr bwMode="auto">
            <a:xfrm>
              <a:off x="360363" y="6659563"/>
              <a:ext cx="444500" cy="542925"/>
            </a:xfrm>
            <a:custGeom>
              <a:avLst/>
              <a:gdLst>
                <a:gd name="T0" fmla="*/ 322 w 325"/>
                <a:gd name="T1" fmla="*/ 0 h 397"/>
                <a:gd name="T2" fmla="*/ 4 w 325"/>
                <a:gd name="T3" fmla="*/ 0 h 397"/>
                <a:gd name="T4" fmla="*/ 0 w 325"/>
                <a:gd name="T5" fmla="*/ 140 h 397"/>
                <a:gd name="T6" fmla="*/ 21 w 325"/>
                <a:gd name="T7" fmla="*/ 143 h 397"/>
                <a:gd name="T8" fmla="*/ 54 w 325"/>
                <a:gd name="T9" fmla="*/ 52 h 397"/>
                <a:gd name="T10" fmla="*/ 131 w 325"/>
                <a:gd name="T11" fmla="*/ 19 h 397"/>
                <a:gd name="T12" fmla="*/ 131 w 325"/>
                <a:gd name="T13" fmla="*/ 312 h 397"/>
                <a:gd name="T14" fmla="*/ 120 w 325"/>
                <a:gd name="T15" fmla="*/ 362 h 397"/>
                <a:gd name="T16" fmla="*/ 88 w 325"/>
                <a:gd name="T17" fmla="*/ 374 h 397"/>
                <a:gd name="T18" fmla="*/ 65 w 325"/>
                <a:gd name="T19" fmla="*/ 374 h 397"/>
                <a:gd name="T20" fmla="*/ 65 w 325"/>
                <a:gd name="T21" fmla="*/ 397 h 397"/>
                <a:gd name="T22" fmla="*/ 261 w 325"/>
                <a:gd name="T23" fmla="*/ 397 h 397"/>
                <a:gd name="T24" fmla="*/ 261 w 325"/>
                <a:gd name="T25" fmla="*/ 374 h 397"/>
                <a:gd name="T26" fmla="*/ 238 w 325"/>
                <a:gd name="T27" fmla="*/ 374 h 397"/>
                <a:gd name="T28" fmla="*/ 206 w 325"/>
                <a:gd name="T29" fmla="*/ 362 h 397"/>
                <a:gd name="T30" fmla="*/ 194 w 325"/>
                <a:gd name="T31" fmla="*/ 312 h 397"/>
                <a:gd name="T32" fmla="*/ 194 w 325"/>
                <a:gd name="T33" fmla="*/ 19 h 397"/>
                <a:gd name="T34" fmla="*/ 272 w 325"/>
                <a:gd name="T35" fmla="*/ 52 h 397"/>
                <a:gd name="T36" fmla="*/ 304 w 325"/>
                <a:gd name="T37" fmla="*/ 143 h 397"/>
                <a:gd name="T38" fmla="*/ 325 w 325"/>
                <a:gd name="T39" fmla="*/ 140 h 397"/>
                <a:gd name="T40" fmla="*/ 322 w 325"/>
                <a:gd name="T41" fmla="*/ 0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25" h="397">
                  <a:moveTo>
                    <a:pt x="322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21" y="143"/>
                    <a:pt x="21" y="143"/>
                    <a:pt x="21" y="143"/>
                  </a:cubicBezTo>
                  <a:cubicBezTo>
                    <a:pt x="25" y="102"/>
                    <a:pt x="36" y="72"/>
                    <a:pt x="54" y="52"/>
                  </a:cubicBezTo>
                  <a:cubicBezTo>
                    <a:pt x="72" y="31"/>
                    <a:pt x="98" y="20"/>
                    <a:pt x="131" y="19"/>
                  </a:cubicBezTo>
                  <a:cubicBezTo>
                    <a:pt x="131" y="312"/>
                    <a:pt x="131" y="312"/>
                    <a:pt x="131" y="312"/>
                  </a:cubicBezTo>
                  <a:cubicBezTo>
                    <a:pt x="131" y="337"/>
                    <a:pt x="127" y="354"/>
                    <a:pt x="120" y="362"/>
                  </a:cubicBezTo>
                  <a:cubicBezTo>
                    <a:pt x="114" y="368"/>
                    <a:pt x="103" y="372"/>
                    <a:pt x="88" y="374"/>
                  </a:cubicBezTo>
                  <a:cubicBezTo>
                    <a:pt x="83" y="374"/>
                    <a:pt x="76" y="374"/>
                    <a:pt x="65" y="374"/>
                  </a:cubicBezTo>
                  <a:cubicBezTo>
                    <a:pt x="65" y="397"/>
                    <a:pt x="65" y="397"/>
                    <a:pt x="65" y="397"/>
                  </a:cubicBezTo>
                  <a:cubicBezTo>
                    <a:pt x="261" y="397"/>
                    <a:pt x="261" y="397"/>
                    <a:pt x="261" y="397"/>
                  </a:cubicBezTo>
                  <a:cubicBezTo>
                    <a:pt x="261" y="374"/>
                    <a:pt x="261" y="374"/>
                    <a:pt x="261" y="374"/>
                  </a:cubicBezTo>
                  <a:cubicBezTo>
                    <a:pt x="250" y="374"/>
                    <a:pt x="242" y="374"/>
                    <a:pt x="238" y="374"/>
                  </a:cubicBezTo>
                  <a:cubicBezTo>
                    <a:pt x="223" y="372"/>
                    <a:pt x="212" y="368"/>
                    <a:pt x="206" y="362"/>
                  </a:cubicBezTo>
                  <a:cubicBezTo>
                    <a:pt x="198" y="354"/>
                    <a:pt x="194" y="337"/>
                    <a:pt x="194" y="312"/>
                  </a:cubicBezTo>
                  <a:cubicBezTo>
                    <a:pt x="194" y="19"/>
                    <a:pt x="194" y="19"/>
                    <a:pt x="194" y="19"/>
                  </a:cubicBezTo>
                  <a:cubicBezTo>
                    <a:pt x="228" y="20"/>
                    <a:pt x="253" y="31"/>
                    <a:pt x="272" y="52"/>
                  </a:cubicBezTo>
                  <a:cubicBezTo>
                    <a:pt x="290" y="72"/>
                    <a:pt x="301" y="102"/>
                    <a:pt x="304" y="143"/>
                  </a:cubicBezTo>
                  <a:cubicBezTo>
                    <a:pt x="325" y="140"/>
                    <a:pt x="325" y="140"/>
                    <a:pt x="325" y="140"/>
                  </a:cubicBezTo>
                  <a:lnTo>
                    <a:pt x="32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5" name="Freeform 10"/>
            <p:cNvSpPr>
              <a:spLocks/>
            </p:cNvSpPr>
            <p:nvPr userDrawn="1"/>
          </p:nvSpPr>
          <p:spPr bwMode="auto">
            <a:xfrm>
              <a:off x="1558926" y="6667500"/>
              <a:ext cx="327025" cy="547687"/>
            </a:xfrm>
            <a:custGeom>
              <a:avLst/>
              <a:gdLst>
                <a:gd name="T0" fmla="*/ 202 w 239"/>
                <a:gd name="T1" fmla="*/ 134 h 400"/>
                <a:gd name="T2" fmla="*/ 175 w 239"/>
                <a:gd name="T3" fmla="*/ 59 h 400"/>
                <a:gd name="T4" fmla="*/ 108 w 239"/>
                <a:gd name="T5" fmla="*/ 20 h 400"/>
                <a:gd name="T6" fmla="*/ 66 w 239"/>
                <a:gd name="T7" fmla="*/ 35 h 400"/>
                <a:gd name="T8" fmla="*/ 45 w 239"/>
                <a:gd name="T9" fmla="*/ 84 h 400"/>
                <a:gd name="T10" fmla="*/ 68 w 239"/>
                <a:gd name="T11" fmla="*/ 134 h 400"/>
                <a:gd name="T12" fmla="*/ 120 w 239"/>
                <a:gd name="T13" fmla="*/ 159 h 400"/>
                <a:gd name="T14" fmla="*/ 198 w 239"/>
                <a:gd name="T15" fmla="*/ 193 h 400"/>
                <a:gd name="T16" fmla="*/ 239 w 239"/>
                <a:gd name="T17" fmla="*/ 279 h 400"/>
                <a:gd name="T18" fmla="*/ 205 w 239"/>
                <a:gd name="T19" fmla="*/ 367 h 400"/>
                <a:gd name="T20" fmla="*/ 127 w 239"/>
                <a:gd name="T21" fmla="*/ 400 h 400"/>
                <a:gd name="T22" fmla="*/ 82 w 239"/>
                <a:gd name="T23" fmla="*/ 391 h 400"/>
                <a:gd name="T24" fmla="*/ 52 w 239"/>
                <a:gd name="T25" fmla="*/ 374 h 400"/>
                <a:gd name="T26" fmla="*/ 40 w 239"/>
                <a:gd name="T27" fmla="*/ 370 h 400"/>
                <a:gd name="T28" fmla="*/ 26 w 239"/>
                <a:gd name="T29" fmla="*/ 378 h 400"/>
                <a:gd name="T30" fmla="*/ 18 w 239"/>
                <a:gd name="T31" fmla="*/ 391 h 400"/>
                <a:gd name="T32" fmla="*/ 0 w 239"/>
                <a:gd name="T33" fmla="*/ 391 h 400"/>
                <a:gd name="T34" fmla="*/ 0 w 239"/>
                <a:gd name="T35" fmla="*/ 252 h 400"/>
                <a:gd name="T36" fmla="*/ 19 w 239"/>
                <a:gd name="T37" fmla="*/ 252 h 400"/>
                <a:gd name="T38" fmla="*/ 46 w 239"/>
                <a:gd name="T39" fmla="*/ 332 h 400"/>
                <a:gd name="T40" fmla="*/ 124 w 239"/>
                <a:gd name="T41" fmla="*/ 379 h 400"/>
                <a:gd name="T42" fmla="*/ 171 w 239"/>
                <a:gd name="T43" fmla="*/ 363 h 400"/>
                <a:gd name="T44" fmla="*/ 195 w 239"/>
                <a:gd name="T45" fmla="*/ 304 h 400"/>
                <a:gd name="T46" fmla="*/ 158 w 239"/>
                <a:gd name="T47" fmla="*/ 239 h 400"/>
                <a:gd name="T48" fmla="*/ 94 w 239"/>
                <a:gd name="T49" fmla="*/ 214 h 400"/>
                <a:gd name="T50" fmla="*/ 35 w 239"/>
                <a:gd name="T51" fmla="*/ 183 h 400"/>
                <a:gd name="T52" fmla="*/ 3 w 239"/>
                <a:gd name="T53" fmla="*/ 107 h 400"/>
                <a:gd name="T54" fmla="*/ 38 w 239"/>
                <a:gd name="T55" fmla="*/ 25 h 400"/>
                <a:gd name="T56" fmla="*/ 105 w 239"/>
                <a:gd name="T57" fmla="*/ 0 h 400"/>
                <a:gd name="T58" fmla="*/ 148 w 239"/>
                <a:gd name="T59" fmla="*/ 8 h 400"/>
                <a:gd name="T60" fmla="*/ 175 w 239"/>
                <a:gd name="T61" fmla="*/ 23 h 400"/>
                <a:gd name="T62" fmla="*/ 185 w 239"/>
                <a:gd name="T63" fmla="*/ 26 h 400"/>
                <a:gd name="T64" fmla="*/ 203 w 239"/>
                <a:gd name="T65" fmla="*/ 8 h 400"/>
                <a:gd name="T66" fmla="*/ 219 w 239"/>
                <a:gd name="T67" fmla="*/ 8 h 400"/>
                <a:gd name="T68" fmla="*/ 219 w 239"/>
                <a:gd name="T69" fmla="*/ 134 h 400"/>
                <a:gd name="T70" fmla="*/ 202 w 239"/>
                <a:gd name="T71" fmla="*/ 134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39" h="400">
                  <a:moveTo>
                    <a:pt x="202" y="134"/>
                  </a:moveTo>
                  <a:cubicBezTo>
                    <a:pt x="195" y="100"/>
                    <a:pt x="186" y="75"/>
                    <a:pt x="175" y="59"/>
                  </a:cubicBezTo>
                  <a:cubicBezTo>
                    <a:pt x="158" y="33"/>
                    <a:pt x="135" y="20"/>
                    <a:pt x="108" y="20"/>
                  </a:cubicBezTo>
                  <a:cubicBezTo>
                    <a:pt x="91" y="20"/>
                    <a:pt x="77" y="25"/>
                    <a:pt x="66" y="35"/>
                  </a:cubicBezTo>
                  <a:cubicBezTo>
                    <a:pt x="52" y="47"/>
                    <a:pt x="45" y="63"/>
                    <a:pt x="45" y="84"/>
                  </a:cubicBezTo>
                  <a:cubicBezTo>
                    <a:pt x="45" y="105"/>
                    <a:pt x="53" y="122"/>
                    <a:pt x="68" y="134"/>
                  </a:cubicBezTo>
                  <a:cubicBezTo>
                    <a:pt x="77" y="142"/>
                    <a:pt x="94" y="150"/>
                    <a:pt x="120" y="159"/>
                  </a:cubicBezTo>
                  <a:cubicBezTo>
                    <a:pt x="159" y="172"/>
                    <a:pt x="184" y="184"/>
                    <a:pt x="198" y="193"/>
                  </a:cubicBezTo>
                  <a:cubicBezTo>
                    <a:pt x="225" y="214"/>
                    <a:pt x="239" y="243"/>
                    <a:pt x="239" y="279"/>
                  </a:cubicBezTo>
                  <a:cubicBezTo>
                    <a:pt x="239" y="314"/>
                    <a:pt x="228" y="344"/>
                    <a:pt x="205" y="367"/>
                  </a:cubicBezTo>
                  <a:cubicBezTo>
                    <a:pt x="184" y="389"/>
                    <a:pt x="158" y="400"/>
                    <a:pt x="127" y="400"/>
                  </a:cubicBezTo>
                  <a:cubicBezTo>
                    <a:pt x="111" y="400"/>
                    <a:pt x="96" y="397"/>
                    <a:pt x="82" y="391"/>
                  </a:cubicBezTo>
                  <a:cubicBezTo>
                    <a:pt x="76" y="388"/>
                    <a:pt x="66" y="383"/>
                    <a:pt x="52" y="374"/>
                  </a:cubicBezTo>
                  <a:cubicBezTo>
                    <a:pt x="48" y="372"/>
                    <a:pt x="44" y="370"/>
                    <a:pt x="40" y="370"/>
                  </a:cubicBezTo>
                  <a:cubicBezTo>
                    <a:pt x="34" y="370"/>
                    <a:pt x="30" y="373"/>
                    <a:pt x="26" y="378"/>
                  </a:cubicBezTo>
                  <a:cubicBezTo>
                    <a:pt x="24" y="381"/>
                    <a:pt x="21" y="385"/>
                    <a:pt x="18" y="391"/>
                  </a:cubicBezTo>
                  <a:cubicBezTo>
                    <a:pt x="0" y="391"/>
                    <a:pt x="0" y="391"/>
                    <a:pt x="0" y="391"/>
                  </a:cubicBezTo>
                  <a:cubicBezTo>
                    <a:pt x="0" y="252"/>
                    <a:pt x="0" y="252"/>
                    <a:pt x="0" y="252"/>
                  </a:cubicBezTo>
                  <a:cubicBezTo>
                    <a:pt x="19" y="252"/>
                    <a:pt x="19" y="252"/>
                    <a:pt x="19" y="252"/>
                  </a:cubicBezTo>
                  <a:cubicBezTo>
                    <a:pt x="25" y="287"/>
                    <a:pt x="35" y="314"/>
                    <a:pt x="46" y="332"/>
                  </a:cubicBezTo>
                  <a:cubicBezTo>
                    <a:pt x="66" y="364"/>
                    <a:pt x="92" y="379"/>
                    <a:pt x="124" y="379"/>
                  </a:cubicBezTo>
                  <a:cubicBezTo>
                    <a:pt x="143" y="379"/>
                    <a:pt x="159" y="374"/>
                    <a:pt x="171" y="363"/>
                  </a:cubicBezTo>
                  <a:cubicBezTo>
                    <a:pt x="187" y="348"/>
                    <a:pt x="195" y="329"/>
                    <a:pt x="195" y="304"/>
                  </a:cubicBezTo>
                  <a:cubicBezTo>
                    <a:pt x="195" y="275"/>
                    <a:pt x="183" y="253"/>
                    <a:pt x="158" y="239"/>
                  </a:cubicBezTo>
                  <a:cubicBezTo>
                    <a:pt x="150" y="234"/>
                    <a:pt x="129" y="226"/>
                    <a:pt x="94" y="214"/>
                  </a:cubicBezTo>
                  <a:cubicBezTo>
                    <a:pt x="69" y="206"/>
                    <a:pt x="49" y="195"/>
                    <a:pt x="35" y="183"/>
                  </a:cubicBezTo>
                  <a:cubicBezTo>
                    <a:pt x="14" y="164"/>
                    <a:pt x="3" y="139"/>
                    <a:pt x="3" y="107"/>
                  </a:cubicBezTo>
                  <a:cubicBezTo>
                    <a:pt x="3" y="72"/>
                    <a:pt x="15" y="45"/>
                    <a:pt x="38" y="25"/>
                  </a:cubicBezTo>
                  <a:cubicBezTo>
                    <a:pt x="56" y="8"/>
                    <a:pt x="79" y="0"/>
                    <a:pt x="105" y="0"/>
                  </a:cubicBezTo>
                  <a:cubicBezTo>
                    <a:pt x="119" y="0"/>
                    <a:pt x="134" y="2"/>
                    <a:pt x="148" y="8"/>
                  </a:cubicBezTo>
                  <a:cubicBezTo>
                    <a:pt x="153" y="10"/>
                    <a:pt x="162" y="15"/>
                    <a:pt x="175" y="23"/>
                  </a:cubicBezTo>
                  <a:cubicBezTo>
                    <a:pt x="179" y="25"/>
                    <a:pt x="182" y="26"/>
                    <a:pt x="185" y="26"/>
                  </a:cubicBezTo>
                  <a:cubicBezTo>
                    <a:pt x="191" y="26"/>
                    <a:pt x="197" y="20"/>
                    <a:pt x="203" y="8"/>
                  </a:cubicBezTo>
                  <a:cubicBezTo>
                    <a:pt x="219" y="8"/>
                    <a:pt x="219" y="8"/>
                    <a:pt x="219" y="8"/>
                  </a:cubicBezTo>
                  <a:cubicBezTo>
                    <a:pt x="219" y="134"/>
                    <a:pt x="219" y="134"/>
                    <a:pt x="219" y="134"/>
                  </a:cubicBezTo>
                  <a:lnTo>
                    <a:pt x="202" y="1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1908176" y="6842125"/>
              <a:ext cx="352425" cy="501650"/>
            </a:xfrm>
            <a:custGeom>
              <a:avLst/>
              <a:gdLst>
                <a:gd name="T0" fmla="*/ 0 w 258"/>
                <a:gd name="T1" fmla="*/ 0 h 367"/>
                <a:gd name="T2" fmla="*/ 119 w 258"/>
                <a:gd name="T3" fmla="*/ 0 h 367"/>
                <a:gd name="T4" fmla="*/ 119 w 258"/>
                <a:gd name="T5" fmla="*/ 18 h 367"/>
                <a:gd name="T6" fmla="*/ 109 w 258"/>
                <a:gd name="T7" fmla="*/ 18 h 367"/>
                <a:gd name="T8" fmla="*/ 86 w 258"/>
                <a:gd name="T9" fmla="*/ 30 h 367"/>
                <a:gd name="T10" fmla="*/ 90 w 258"/>
                <a:gd name="T11" fmla="*/ 46 h 367"/>
                <a:gd name="T12" fmla="*/ 147 w 258"/>
                <a:gd name="T13" fmla="*/ 196 h 367"/>
                <a:gd name="T14" fmla="*/ 197 w 258"/>
                <a:gd name="T15" fmla="*/ 57 h 367"/>
                <a:gd name="T16" fmla="*/ 202 w 258"/>
                <a:gd name="T17" fmla="*/ 34 h 367"/>
                <a:gd name="T18" fmla="*/ 177 w 258"/>
                <a:gd name="T19" fmla="*/ 18 h 367"/>
                <a:gd name="T20" fmla="*/ 164 w 258"/>
                <a:gd name="T21" fmla="*/ 18 h 367"/>
                <a:gd name="T22" fmla="*/ 164 w 258"/>
                <a:gd name="T23" fmla="*/ 0 h 367"/>
                <a:gd name="T24" fmla="*/ 258 w 258"/>
                <a:gd name="T25" fmla="*/ 0 h 367"/>
                <a:gd name="T26" fmla="*/ 258 w 258"/>
                <a:gd name="T27" fmla="*/ 18 h 367"/>
                <a:gd name="T28" fmla="*/ 252 w 258"/>
                <a:gd name="T29" fmla="*/ 18 h 367"/>
                <a:gd name="T30" fmla="*/ 235 w 258"/>
                <a:gd name="T31" fmla="*/ 26 h 367"/>
                <a:gd name="T32" fmla="*/ 226 w 258"/>
                <a:gd name="T33" fmla="*/ 44 h 367"/>
                <a:gd name="T34" fmla="*/ 131 w 258"/>
                <a:gd name="T35" fmla="*/ 299 h 367"/>
                <a:gd name="T36" fmla="*/ 101 w 258"/>
                <a:gd name="T37" fmla="*/ 351 h 367"/>
                <a:gd name="T38" fmla="*/ 60 w 258"/>
                <a:gd name="T39" fmla="*/ 367 h 367"/>
                <a:gd name="T40" fmla="*/ 25 w 258"/>
                <a:gd name="T41" fmla="*/ 355 h 367"/>
                <a:gd name="T42" fmla="*/ 7 w 258"/>
                <a:gd name="T43" fmla="*/ 318 h 367"/>
                <a:gd name="T44" fmla="*/ 15 w 258"/>
                <a:gd name="T45" fmla="*/ 295 h 367"/>
                <a:gd name="T46" fmla="*/ 38 w 258"/>
                <a:gd name="T47" fmla="*/ 285 h 367"/>
                <a:gd name="T48" fmla="*/ 62 w 258"/>
                <a:gd name="T49" fmla="*/ 296 h 367"/>
                <a:gd name="T50" fmla="*/ 67 w 258"/>
                <a:gd name="T51" fmla="*/ 313 h 367"/>
                <a:gd name="T52" fmla="*/ 58 w 258"/>
                <a:gd name="T53" fmla="*/ 334 h 367"/>
                <a:gd name="T54" fmla="*/ 43 w 258"/>
                <a:gd name="T55" fmla="*/ 341 h 367"/>
                <a:gd name="T56" fmla="*/ 61 w 258"/>
                <a:gd name="T57" fmla="*/ 348 h 367"/>
                <a:gd name="T58" fmla="*/ 90 w 258"/>
                <a:gd name="T59" fmla="*/ 335 h 367"/>
                <a:gd name="T60" fmla="*/ 115 w 258"/>
                <a:gd name="T61" fmla="*/ 284 h 367"/>
                <a:gd name="T62" fmla="*/ 121 w 258"/>
                <a:gd name="T63" fmla="*/ 266 h 367"/>
                <a:gd name="T64" fmla="*/ 42 w 258"/>
                <a:gd name="T65" fmla="*/ 55 h 367"/>
                <a:gd name="T66" fmla="*/ 27 w 258"/>
                <a:gd name="T67" fmla="*/ 24 h 367"/>
                <a:gd name="T68" fmla="*/ 4 w 258"/>
                <a:gd name="T69" fmla="*/ 18 h 367"/>
                <a:gd name="T70" fmla="*/ 0 w 258"/>
                <a:gd name="T71" fmla="*/ 18 h 367"/>
                <a:gd name="T72" fmla="*/ 0 w 258"/>
                <a:gd name="T73" fmla="*/ 0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58" h="367">
                  <a:moveTo>
                    <a:pt x="0" y="0"/>
                  </a:moveTo>
                  <a:cubicBezTo>
                    <a:pt x="119" y="0"/>
                    <a:pt x="119" y="0"/>
                    <a:pt x="119" y="0"/>
                  </a:cubicBezTo>
                  <a:cubicBezTo>
                    <a:pt x="119" y="18"/>
                    <a:pt x="119" y="18"/>
                    <a:pt x="119" y="18"/>
                  </a:cubicBezTo>
                  <a:cubicBezTo>
                    <a:pt x="109" y="18"/>
                    <a:pt x="109" y="18"/>
                    <a:pt x="109" y="18"/>
                  </a:cubicBezTo>
                  <a:cubicBezTo>
                    <a:pt x="93" y="18"/>
                    <a:pt x="86" y="22"/>
                    <a:pt x="86" y="30"/>
                  </a:cubicBezTo>
                  <a:cubicBezTo>
                    <a:pt x="86" y="34"/>
                    <a:pt x="87" y="39"/>
                    <a:pt x="90" y="46"/>
                  </a:cubicBezTo>
                  <a:cubicBezTo>
                    <a:pt x="147" y="196"/>
                    <a:pt x="147" y="196"/>
                    <a:pt x="147" y="196"/>
                  </a:cubicBezTo>
                  <a:cubicBezTo>
                    <a:pt x="197" y="57"/>
                    <a:pt x="197" y="57"/>
                    <a:pt x="197" y="57"/>
                  </a:cubicBezTo>
                  <a:cubicBezTo>
                    <a:pt x="200" y="47"/>
                    <a:pt x="202" y="39"/>
                    <a:pt x="202" y="34"/>
                  </a:cubicBezTo>
                  <a:cubicBezTo>
                    <a:pt x="202" y="23"/>
                    <a:pt x="194" y="18"/>
                    <a:pt x="177" y="18"/>
                  </a:cubicBezTo>
                  <a:cubicBezTo>
                    <a:pt x="164" y="18"/>
                    <a:pt x="164" y="18"/>
                    <a:pt x="164" y="18"/>
                  </a:cubicBezTo>
                  <a:cubicBezTo>
                    <a:pt x="164" y="0"/>
                    <a:pt x="164" y="0"/>
                    <a:pt x="164" y="0"/>
                  </a:cubicBezTo>
                  <a:cubicBezTo>
                    <a:pt x="258" y="0"/>
                    <a:pt x="258" y="0"/>
                    <a:pt x="258" y="0"/>
                  </a:cubicBezTo>
                  <a:cubicBezTo>
                    <a:pt x="258" y="18"/>
                    <a:pt x="258" y="18"/>
                    <a:pt x="258" y="18"/>
                  </a:cubicBezTo>
                  <a:cubicBezTo>
                    <a:pt x="252" y="18"/>
                    <a:pt x="252" y="18"/>
                    <a:pt x="252" y="18"/>
                  </a:cubicBezTo>
                  <a:cubicBezTo>
                    <a:pt x="245" y="18"/>
                    <a:pt x="240" y="20"/>
                    <a:pt x="235" y="26"/>
                  </a:cubicBezTo>
                  <a:cubicBezTo>
                    <a:pt x="232" y="29"/>
                    <a:pt x="229" y="36"/>
                    <a:pt x="226" y="44"/>
                  </a:cubicBezTo>
                  <a:cubicBezTo>
                    <a:pt x="131" y="299"/>
                    <a:pt x="131" y="299"/>
                    <a:pt x="131" y="299"/>
                  </a:cubicBezTo>
                  <a:cubicBezTo>
                    <a:pt x="122" y="323"/>
                    <a:pt x="112" y="340"/>
                    <a:pt x="101" y="351"/>
                  </a:cubicBezTo>
                  <a:cubicBezTo>
                    <a:pt x="90" y="362"/>
                    <a:pt x="76" y="367"/>
                    <a:pt x="60" y="367"/>
                  </a:cubicBezTo>
                  <a:cubicBezTo>
                    <a:pt x="46" y="367"/>
                    <a:pt x="34" y="363"/>
                    <a:pt x="25" y="355"/>
                  </a:cubicBezTo>
                  <a:cubicBezTo>
                    <a:pt x="13" y="345"/>
                    <a:pt x="7" y="333"/>
                    <a:pt x="7" y="318"/>
                  </a:cubicBezTo>
                  <a:cubicBezTo>
                    <a:pt x="7" y="309"/>
                    <a:pt x="10" y="301"/>
                    <a:pt x="15" y="295"/>
                  </a:cubicBezTo>
                  <a:cubicBezTo>
                    <a:pt x="21" y="288"/>
                    <a:pt x="28" y="285"/>
                    <a:pt x="38" y="285"/>
                  </a:cubicBezTo>
                  <a:cubicBezTo>
                    <a:pt x="49" y="285"/>
                    <a:pt x="57" y="289"/>
                    <a:pt x="62" y="296"/>
                  </a:cubicBezTo>
                  <a:cubicBezTo>
                    <a:pt x="66" y="301"/>
                    <a:pt x="67" y="306"/>
                    <a:pt x="67" y="313"/>
                  </a:cubicBezTo>
                  <a:cubicBezTo>
                    <a:pt x="67" y="321"/>
                    <a:pt x="64" y="328"/>
                    <a:pt x="58" y="334"/>
                  </a:cubicBezTo>
                  <a:cubicBezTo>
                    <a:pt x="54" y="337"/>
                    <a:pt x="49" y="340"/>
                    <a:pt x="43" y="341"/>
                  </a:cubicBezTo>
                  <a:cubicBezTo>
                    <a:pt x="48" y="345"/>
                    <a:pt x="53" y="348"/>
                    <a:pt x="61" y="348"/>
                  </a:cubicBezTo>
                  <a:cubicBezTo>
                    <a:pt x="72" y="348"/>
                    <a:pt x="82" y="343"/>
                    <a:pt x="90" y="335"/>
                  </a:cubicBezTo>
                  <a:cubicBezTo>
                    <a:pt x="97" y="327"/>
                    <a:pt x="106" y="310"/>
                    <a:pt x="115" y="284"/>
                  </a:cubicBezTo>
                  <a:cubicBezTo>
                    <a:pt x="121" y="266"/>
                    <a:pt x="121" y="266"/>
                    <a:pt x="121" y="266"/>
                  </a:cubicBezTo>
                  <a:cubicBezTo>
                    <a:pt x="42" y="55"/>
                    <a:pt x="42" y="55"/>
                    <a:pt x="42" y="55"/>
                  </a:cubicBezTo>
                  <a:cubicBezTo>
                    <a:pt x="36" y="38"/>
                    <a:pt x="31" y="28"/>
                    <a:pt x="27" y="24"/>
                  </a:cubicBezTo>
                  <a:cubicBezTo>
                    <a:pt x="21" y="20"/>
                    <a:pt x="14" y="18"/>
                    <a:pt x="4" y="18"/>
                  </a:cubicBezTo>
                  <a:cubicBezTo>
                    <a:pt x="0" y="18"/>
                    <a:pt x="0" y="18"/>
                    <a:pt x="0" y="18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" name="Freeform 12"/>
            <p:cNvSpPr>
              <a:spLocks/>
            </p:cNvSpPr>
            <p:nvPr userDrawn="1"/>
          </p:nvSpPr>
          <p:spPr bwMode="auto">
            <a:xfrm>
              <a:off x="2265363" y="6834188"/>
              <a:ext cx="252413" cy="376237"/>
            </a:xfrm>
            <a:custGeom>
              <a:avLst/>
              <a:gdLst>
                <a:gd name="T0" fmla="*/ 168 w 184"/>
                <a:gd name="T1" fmla="*/ 6 h 275"/>
                <a:gd name="T2" fmla="*/ 168 w 184"/>
                <a:gd name="T3" fmla="*/ 89 h 275"/>
                <a:gd name="T4" fmla="*/ 151 w 184"/>
                <a:gd name="T5" fmla="*/ 89 h 275"/>
                <a:gd name="T6" fmla="*/ 84 w 184"/>
                <a:gd name="T7" fmla="*/ 17 h 275"/>
                <a:gd name="T8" fmla="*/ 53 w 184"/>
                <a:gd name="T9" fmla="*/ 28 h 275"/>
                <a:gd name="T10" fmla="*/ 41 w 184"/>
                <a:gd name="T11" fmla="*/ 57 h 275"/>
                <a:gd name="T12" fmla="*/ 58 w 184"/>
                <a:gd name="T13" fmla="*/ 88 h 275"/>
                <a:gd name="T14" fmla="*/ 89 w 184"/>
                <a:gd name="T15" fmla="*/ 101 h 275"/>
                <a:gd name="T16" fmla="*/ 152 w 184"/>
                <a:gd name="T17" fmla="*/ 128 h 275"/>
                <a:gd name="T18" fmla="*/ 184 w 184"/>
                <a:gd name="T19" fmla="*/ 191 h 275"/>
                <a:gd name="T20" fmla="*/ 157 w 184"/>
                <a:gd name="T21" fmla="*/ 255 h 275"/>
                <a:gd name="T22" fmla="*/ 98 w 184"/>
                <a:gd name="T23" fmla="*/ 275 h 275"/>
                <a:gd name="T24" fmla="*/ 60 w 184"/>
                <a:gd name="T25" fmla="*/ 268 h 275"/>
                <a:gd name="T26" fmla="*/ 34 w 184"/>
                <a:gd name="T27" fmla="*/ 254 h 275"/>
                <a:gd name="T28" fmla="*/ 26 w 184"/>
                <a:gd name="T29" fmla="*/ 252 h 275"/>
                <a:gd name="T30" fmla="*/ 16 w 184"/>
                <a:gd name="T31" fmla="*/ 270 h 275"/>
                <a:gd name="T32" fmla="*/ 0 w 184"/>
                <a:gd name="T33" fmla="*/ 270 h 275"/>
                <a:gd name="T34" fmla="*/ 0 w 184"/>
                <a:gd name="T35" fmla="*/ 172 h 275"/>
                <a:gd name="T36" fmla="*/ 16 w 184"/>
                <a:gd name="T37" fmla="*/ 172 h 275"/>
                <a:gd name="T38" fmla="*/ 37 w 184"/>
                <a:gd name="T39" fmla="*/ 224 h 275"/>
                <a:gd name="T40" fmla="*/ 63 w 184"/>
                <a:gd name="T41" fmla="*/ 248 h 275"/>
                <a:gd name="T42" fmla="*/ 97 w 184"/>
                <a:gd name="T43" fmla="*/ 257 h 275"/>
                <a:gd name="T44" fmla="*/ 132 w 184"/>
                <a:gd name="T45" fmla="*/ 242 h 275"/>
                <a:gd name="T46" fmla="*/ 144 w 184"/>
                <a:gd name="T47" fmla="*/ 210 h 275"/>
                <a:gd name="T48" fmla="*/ 120 w 184"/>
                <a:gd name="T49" fmla="*/ 170 h 275"/>
                <a:gd name="T50" fmla="*/ 70 w 184"/>
                <a:gd name="T51" fmla="*/ 149 h 275"/>
                <a:gd name="T52" fmla="*/ 28 w 184"/>
                <a:gd name="T53" fmla="*/ 128 h 275"/>
                <a:gd name="T54" fmla="*/ 3 w 184"/>
                <a:gd name="T55" fmla="*/ 72 h 275"/>
                <a:gd name="T56" fmla="*/ 26 w 184"/>
                <a:gd name="T57" fmla="*/ 19 h 275"/>
                <a:gd name="T58" fmla="*/ 80 w 184"/>
                <a:gd name="T59" fmla="*/ 0 h 275"/>
                <a:gd name="T60" fmla="*/ 134 w 184"/>
                <a:gd name="T61" fmla="*/ 16 h 275"/>
                <a:gd name="T62" fmla="*/ 143 w 184"/>
                <a:gd name="T63" fmla="*/ 19 h 275"/>
                <a:gd name="T64" fmla="*/ 151 w 184"/>
                <a:gd name="T65" fmla="*/ 6 h 275"/>
                <a:gd name="T66" fmla="*/ 168 w 184"/>
                <a:gd name="T67" fmla="*/ 6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84" h="275">
                  <a:moveTo>
                    <a:pt x="168" y="6"/>
                  </a:moveTo>
                  <a:cubicBezTo>
                    <a:pt x="168" y="89"/>
                    <a:pt x="168" y="89"/>
                    <a:pt x="168" y="89"/>
                  </a:cubicBezTo>
                  <a:cubicBezTo>
                    <a:pt x="151" y="89"/>
                    <a:pt x="151" y="89"/>
                    <a:pt x="151" y="89"/>
                  </a:cubicBezTo>
                  <a:cubicBezTo>
                    <a:pt x="142" y="41"/>
                    <a:pt x="119" y="17"/>
                    <a:pt x="84" y="17"/>
                  </a:cubicBezTo>
                  <a:cubicBezTo>
                    <a:pt x="71" y="17"/>
                    <a:pt x="61" y="21"/>
                    <a:pt x="53" y="28"/>
                  </a:cubicBezTo>
                  <a:cubicBezTo>
                    <a:pt x="45" y="36"/>
                    <a:pt x="41" y="46"/>
                    <a:pt x="41" y="57"/>
                  </a:cubicBezTo>
                  <a:cubicBezTo>
                    <a:pt x="41" y="70"/>
                    <a:pt x="47" y="80"/>
                    <a:pt x="58" y="88"/>
                  </a:cubicBezTo>
                  <a:cubicBezTo>
                    <a:pt x="64" y="92"/>
                    <a:pt x="74" y="96"/>
                    <a:pt x="89" y="101"/>
                  </a:cubicBezTo>
                  <a:cubicBezTo>
                    <a:pt x="120" y="111"/>
                    <a:pt x="142" y="120"/>
                    <a:pt x="152" y="128"/>
                  </a:cubicBezTo>
                  <a:cubicBezTo>
                    <a:pt x="173" y="144"/>
                    <a:pt x="184" y="165"/>
                    <a:pt x="184" y="191"/>
                  </a:cubicBezTo>
                  <a:cubicBezTo>
                    <a:pt x="184" y="217"/>
                    <a:pt x="175" y="238"/>
                    <a:pt x="157" y="255"/>
                  </a:cubicBezTo>
                  <a:cubicBezTo>
                    <a:pt x="141" y="269"/>
                    <a:pt x="122" y="275"/>
                    <a:pt x="98" y="275"/>
                  </a:cubicBezTo>
                  <a:cubicBezTo>
                    <a:pt x="84" y="275"/>
                    <a:pt x="71" y="273"/>
                    <a:pt x="60" y="268"/>
                  </a:cubicBezTo>
                  <a:cubicBezTo>
                    <a:pt x="55" y="266"/>
                    <a:pt x="46" y="262"/>
                    <a:pt x="34" y="254"/>
                  </a:cubicBezTo>
                  <a:cubicBezTo>
                    <a:pt x="31" y="253"/>
                    <a:pt x="28" y="252"/>
                    <a:pt x="26" y="252"/>
                  </a:cubicBezTo>
                  <a:cubicBezTo>
                    <a:pt x="23" y="252"/>
                    <a:pt x="19" y="258"/>
                    <a:pt x="16" y="270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172"/>
                    <a:pt x="0" y="172"/>
                    <a:pt x="0" y="172"/>
                  </a:cubicBezTo>
                  <a:cubicBezTo>
                    <a:pt x="16" y="172"/>
                    <a:pt x="16" y="172"/>
                    <a:pt x="16" y="172"/>
                  </a:cubicBezTo>
                  <a:cubicBezTo>
                    <a:pt x="23" y="196"/>
                    <a:pt x="30" y="214"/>
                    <a:pt x="37" y="224"/>
                  </a:cubicBezTo>
                  <a:cubicBezTo>
                    <a:pt x="44" y="234"/>
                    <a:pt x="53" y="242"/>
                    <a:pt x="63" y="248"/>
                  </a:cubicBezTo>
                  <a:cubicBezTo>
                    <a:pt x="74" y="254"/>
                    <a:pt x="85" y="257"/>
                    <a:pt x="97" y="257"/>
                  </a:cubicBezTo>
                  <a:cubicBezTo>
                    <a:pt x="112" y="257"/>
                    <a:pt x="123" y="252"/>
                    <a:pt x="132" y="242"/>
                  </a:cubicBezTo>
                  <a:cubicBezTo>
                    <a:pt x="140" y="233"/>
                    <a:pt x="144" y="222"/>
                    <a:pt x="144" y="210"/>
                  </a:cubicBezTo>
                  <a:cubicBezTo>
                    <a:pt x="144" y="193"/>
                    <a:pt x="136" y="179"/>
                    <a:pt x="120" y="170"/>
                  </a:cubicBezTo>
                  <a:cubicBezTo>
                    <a:pt x="112" y="164"/>
                    <a:pt x="95" y="158"/>
                    <a:pt x="70" y="149"/>
                  </a:cubicBezTo>
                  <a:cubicBezTo>
                    <a:pt x="53" y="144"/>
                    <a:pt x="39" y="137"/>
                    <a:pt x="28" y="128"/>
                  </a:cubicBezTo>
                  <a:cubicBezTo>
                    <a:pt x="11" y="115"/>
                    <a:pt x="3" y="97"/>
                    <a:pt x="3" y="72"/>
                  </a:cubicBezTo>
                  <a:cubicBezTo>
                    <a:pt x="3" y="50"/>
                    <a:pt x="10" y="32"/>
                    <a:pt x="26" y="19"/>
                  </a:cubicBezTo>
                  <a:cubicBezTo>
                    <a:pt x="40" y="6"/>
                    <a:pt x="58" y="0"/>
                    <a:pt x="80" y="0"/>
                  </a:cubicBezTo>
                  <a:cubicBezTo>
                    <a:pt x="99" y="0"/>
                    <a:pt x="117" y="5"/>
                    <a:pt x="134" y="16"/>
                  </a:cubicBezTo>
                  <a:cubicBezTo>
                    <a:pt x="138" y="18"/>
                    <a:pt x="141" y="19"/>
                    <a:pt x="143" y="19"/>
                  </a:cubicBezTo>
                  <a:cubicBezTo>
                    <a:pt x="146" y="19"/>
                    <a:pt x="149" y="14"/>
                    <a:pt x="151" y="6"/>
                  </a:cubicBezTo>
                  <a:lnTo>
                    <a:pt x="168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" name="Freeform 13"/>
            <p:cNvSpPr>
              <a:spLocks/>
            </p:cNvSpPr>
            <p:nvPr userDrawn="1"/>
          </p:nvSpPr>
          <p:spPr bwMode="auto">
            <a:xfrm>
              <a:off x="2527301" y="6704013"/>
              <a:ext cx="239713" cy="506412"/>
            </a:xfrm>
            <a:custGeom>
              <a:avLst/>
              <a:gdLst>
                <a:gd name="T0" fmla="*/ 90 w 176"/>
                <a:gd name="T1" fmla="*/ 119 h 369"/>
                <a:gd name="T2" fmla="*/ 90 w 176"/>
                <a:gd name="T3" fmla="*/ 278 h 369"/>
                <a:gd name="T4" fmla="*/ 94 w 176"/>
                <a:gd name="T5" fmla="*/ 323 h 369"/>
                <a:gd name="T6" fmla="*/ 122 w 176"/>
                <a:gd name="T7" fmla="*/ 345 h 369"/>
                <a:gd name="T8" fmla="*/ 149 w 176"/>
                <a:gd name="T9" fmla="*/ 326 h 369"/>
                <a:gd name="T10" fmla="*/ 157 w 176"/>
                <a:gd name="T11" fmla="*/ 281 h 369"/>
                <a:gd name="T12" fmla="*/ 157 w 176"/>
                <a:gd name="T13" fmla="*/ 273 h 369"/>
                <a:gd name="T14" fmla="*/ 176 w 176"/>
                <a:gd name="T15" fmla="*/ 273 h 369"/>
                <a:gd name="T16" fmla="*/ 176 w 176"/>
                <a:gd name="T17" fmla="*/ 284 h 369"/>
                <a:gd name="T18" fmla="*/ 159 w 176"/>
                <a:gd name="T19" fmla="*/ 347 h 369"/>
                <a:gd name="T20" fmla="*/ 108 w 176"/>
                <a:gd name="T21" fmla="*/ 369 h 369"/>
                <a:gd name="T22" fmla="*/ 58 w 176"/>
                <a:gd name="T23" fmla="*/ 350 h 369"/>
                <a:gd name="T24" fmla="*/ 43 w 176"/>
                <a:gd name="T25" fmla="*/ 315 h 369"/>
                <a:gd name="T26" fmla="*/ 42 w 176"/>
                <a:gd name="T27" fmla="*/ 278 h 369"/>
                <a:gd name="T28" fmla="*/ 42 w 176"/>
                <a:gd name="T29" fmla="*/ 119 h 369"/>
                <a:gd name="T30" fmla="*/ 0 w 176"/>
                <a:gd name="T31" fmla="*/ 119 h 369"/>
                <a:gd name="T32" fmla="*/ 0 w 176"/>
                <a:gd name="T33" fmla="*/ 103 h 369"/>
                <a:gd name="T34" fmla="*/ 54 w 176"/>
                <a:gd name="T35" fmla="*/ 72 h 369"/>
                <a:gd name="T36" fmla="*/ 74 w 176"/>
                <a:gd name="T37" fmla="*/ 0 h 369"/>
                <a:gd name="T38" fmla="*/ 90 w 176"/>
                <a:gd name="T39" fmla="*/ 0 h 369"/>
                <a:gd name="T40" fmla="*/ 90 w 176"/>
                <a:gd name="T41" fmla="*/ 100 h 369"/>
                <a:gd name="T42" fmla="*/ 167 w 176"/>
                <a:gd name="T43" fmla="*/ 100 h 369"/>
                <a:gd name="T44" fmla="*/ 167 w 176"/>
                <a:gd name="T45" fmla="*/ 119 h 369"/>
                <a:gd name="T46" fmla="*/ 90 w 176"/>
                <a:gd name="T47" fmla="*/ 119 h 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6" h="369">
                  <a:moveTo>
                    <a:pt x="90" y="119"/>
                  </a:moveTo>
                  <a:cubicBezTo>
                    <a:pt x="90" y="278"/>
                    <a:pt x="90" y="278"/>
                    <a:pt x="90" y="278"/>
                  </a:cubicBezTo>
                  <a:cubicBezTo>
                    <a:pt x="90" y="299"/>
                    <a:pt x="92" y="314"/>
                    <a:pt x="94" y="323"/>
                  </a:cubicBezTo>
                  <a:cubicBezTo>
                    <a:pt x="99" y="338"/>
                    <a:pt x="108" y="345"/>
                    <a:pt x="122" y="345"/>
                  </a:cubicBezTo>
                  <a:cubicBezTo>
                    <a:pt x="134" y="345"/>
                    <a:pt x="143" y="339"/>
                    <a:pt x="149" y="326"/>
                  </a:cubicBezTo>
                  <a:cubicBezTo>
                    <a:pt x="154" y="314"/>
                    <a:pt x="157" y="299"/>
                    <a:pt x="157" y="281"/>
                  </a:cubicBezTo>
                  <a:cubicBezTo>
                    <a:pt x="157" y="273"/>
                    <a:pt x="157" y="273"/>
                    <a:pt x="157" y="273"/>
                  </a:cubicBezTo>
                  <a:cubicBezTo>
                    <a:pt x="176" y="273"/>
                    <a:pt x="176" y="273"/>
                    <a:pt x="176" y="273"/>
                  </a:cubicBezTo>
                  <a:cubicBezTo>
                    <a:pt x="176" y="284"/>
                    <a:pt x="176" y="284"/>
                    <a:pt x="176" y="284"/>
                  </a:cubicBezTo>
                  <a:cubicBezTo>
                    <a:pt x="176" y="310"/>
                    <a:pt x="170" y="331"/>
                    <a:pt x="159" y="347"/>
                  </a:cubicBezTo>
                  <a:cubicBezTo>
                    <a:pt x="148" y="362"/>
                    <a:pt x="131" y="369"/>
                    <a:pt x="108" y="369"/>
                  </a:cubicBezTo>
                  <a:cubicBezTo>
                    <a:pt x="85" y="369"/>
                    <a:pt x="69" y="363"/>
                    <a:pt x="58" y="350"/>
                  </a:cubicBezTo>
                  <a:cubicBezTo>
                    <a:pt x="50" y="340"/>
                    <a:pt x="45" y="329"/>
                    <a:pt x="43" y="315"/>
                  </a:cubicBezTo>
                  <a:cubicBezTo>
                    <a:pt x="42" y="305"/>
                    <a:pt x="42" y="293"/>
                    <a:pt x="42" y="278"/>
                  </a:cubicBezTo>
                  <a:cubicBezTo>
                    <a:pt x="42" y="119"/>
                    <a:pt x="42" y="119"/>
                    <a:pt x="42" y="119"/>
                  </a:cubicBezTo>
                  <a:cubicBezTo>
                    <a:pt x="0" y="119"/>
                    <a:pt x="0" y="119"/>
                    <a:pt x="0" y="119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27" y="97"/>
                    <a:pt x="45" y="86"/>
                    <a:pt x="54" y="72"/>
                  </a:cubicBezTo>
                  <a:cubicBezTo>
                    <a:pt x="64" y="57"/>
                    <a:pt x="71" y="33"/>
                    <a:pt x="74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0" y="100"/>
                    <a:pt x="90" y="100"/>
                    <a:pt x="90" y="100"/>
                  </a:cubicBezTo>
                  <a:cubicBezTo>
                    <a:pt x="167" y="100"/>
                    <a:pt x="167" y="100"/>
                    <a:pt x="167" y="100"/>
                  </a:cubicBezTo>
                  <a:cubicBezTo>
                    <a:pt x="167" y="119"/>
                    <a:pt x="167" y="119"/>
                    <a:pt x="167" y="119"/>
                  </a:cubicBezTo>
                  <a:lnTo>
                    <a:pt x="90" y="1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" name="Freeform 14"/>
            <p:cNvSpPr>
              <a:spLocks noEditPoints="1"/>
            </p:cNvSpPr>
            <p:nvPr userDrawn="1"/>
          </p:nvSpPr>
          <p:spPr bwMode="auto">
            <a:xfrm>
              <a:off x="2790826" y="6831013"/>
              <a:ext cx="285750" cy="382587"/>
            </a:xfrm>
            <a:custGeom>
              <a:avLst/>
              <a:gdLst>
                <a:gd name="T0" fmla="*/ 210 w 210"/>
                <a:gd name="T1" fmla="*/ 138 h 280"/>
                <a:gd name="T2" fmla="*/ 53 w 210"/>
                <a:gd name="T3" fmla="*/ 138 h 280"/>
                <a:gd name="T4" fmla="*/ 65 w 210"/>
                <a:gd name="T5" fmla="*/ 220 h 280"/>
                <a:gd name="T6" fmla="*/ 119 w 210"/>
                <a:gd name="T7" fmla="*/ 257 h 280"/>
                <a:gd name="T8" fmla="*/ 168 w 210"/>
                <a:gd name="T9" fmla="*/ 234 h 280"/>
                <a:gd name="T10" fmla="*/ 190 w 210"/>
                <a:gd name="T11" fmla="*/ 198 h 280"/>
                <a:gd name="T12" fmla="*/ 207 w 210"/>
                <a:gd name="T13" fmla="*/ 207 h 280"/>
                <a:gd name="T14" fmla="*/ 110 w 210"/>
                <a:gd name="T15" fmla="*/ 280 h 280"/>
                <a:gd name="T16" fmla="*/ 36 w 210"/>
                <a:gd name="T17" fmla="*/ 249 h 280"/>
                <a:gd name="T18" fmla="*/ 0 w 210"/>
                <a:gd name="T19" fmla="*/ 138 h 280"/>
                <a:gd name="T20" fmla="*/ 36 w 210"/>
                <a:gd name="T21" fmla="*/ 31 h 280"/>
                <a:gd name="T22" fmla="*/ 104 w 210"/>
                <a:gd name="T23" fmla="*/ 0 h 280"/>
                <a:gd name="T24" fmla="*/ 193 w 210"/>
                <a:gd name="T25" fmla="*/ 59 h 280"/>
                <a:gd name="T26" fmla="*/ 210 w 210"/>
                <a:gd name="T27" fmla="*/ 138 h 280"/>
                <a:gd name="T28" fmla="*/ 157 w 210"/>
                <a:gd name="T29" fmla="*/ 118 h 280"/>
                <a:gd name="T30" fmla="*/ 150 w 210"/>
                <a:gd name="T31" fmla="*/ 60 h 280"/>
                <a:gd name="T32" fmla="*/ 107 w 210"/>
                <a:gd name="T33" fmla="*/ 20 h 280"/>
                <a:gd name="T34" fmla="*/ 60 w 210"/>
                <a:gd name="T35" fmla="*/ 69 h 280"/>
                <a:gd name="T36" fmla="*/ 54 w 210"/>
                <a:gd name="T37" fmla="*/ 118 h 280"/>
                <a:gd name="T38" fmla="*/ 157 w 210"/>
                <a:gd name="T39" fmla="*/ 118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10" h="280">
                  <a:moveTo>
                    <a:pt x="210" y="138"/>
                  </a:moveTo>
                  <a:cubicBezTo>
                    <a:pt x="53" y="138"/>
                    <a:pt x="53" y="138"/>
                    <a:pt x="53" y="138"/>
                  </a:cubicBezTo>
                  <a:cubicBezTo>
                    <a:pt x="54" y="175"/>
                    <a:pt x="58" y="202"/>
                    <a:pt x="65" y="220"/>
                  </a:cubicBezTo>
                  <a:cubicBezTo>
                    <a:pt x="75" y="245"/>
                    <a:pt x="93" y="257"/>
                    <a:pt x="119" y="257"/>
                  </a:cubicBezTo>
                  <a:cubicBezTo>
                    <a:pt x="139" y="257"/>
                    <a:pt x="155" y="249"/>
                    <a:pt x="168" y="234"/>
                  </a:cubicBezTo>
                  <a:cubicBezTo>
                    <a:pt x="176" y="225"/>
                    <a:pt x="183" y="213"/>
                    <a:pt x="190" y="198"/>
                  </a:cubicBezTo>
                  <a:cubicBezTo>
                    <a:pt x="207" y="207"/>
                    <a:pt x="207" y="207"/>
                    <a:pt x="207" y="207"/>
                  </a:cubicBezTo>
                  <a:cubicBezTo>
                    <a:pt x="183" y="256"/>
                    <a:pt x="151" y="280"/>
                    <a:pt x="110" y="280"/>
                  </a:cubicBezTo>
                  <a:cubicBezTo>
                    <a:pt x="80" y="280"/>
                    <a:pt x="55" y="269"/>
                    <a:pt x="36" y="249"/>
                  </a:cubicBezTo>
                  <a:cubicBezTo>
                    <a:pt x="12" y="223"/>
                    <a:pt x="0" y="186"/>
                    <a:pt x="0" y="138"/>
                  </a:cubicBezTo>
                  <a:cubicBezTo>
                    <a:pt x="0" y="94"/>
                    <a:pt x="12" y="58"/>
                    <a:pt x="36" y="31"/>
                  </a:cubicBezTo>
                  <a:cubicBezTo>
                    <a:pt x="55" y="10"/>
                    <a:pt x="77" y="0"/>
                    <a:pt x="104" y="0"/>
                  </a:cubicBezTo>
                  <a:cubicBezTo>
                    <a:pt x="143" y="0"/>
                    <a:pt x="173" y="19"/>
                    <a:pt x="193" y="59"/>
                  </a:cubicBezTo>
                  <a:cubicBezTo>
                    <a:pt x="203" y="80"/>
                    <a:pt x="209" y="106"/>
                    <a:pt x="210" y="138"/>
                  </a:cubicBezTo>
                  <a:close/>
                  <a:moveTo>
                    <a:pt x="157" y="118"/>
                  </a:moveTo>
                  <a:cubicBezTo>
                    <a:pt x="157" y="94"/>
                    <a:pt x="155" y="75"/>
                    <a:pt x="150" y="60"/>
                  </a:cubicBezTo>
                  <a:cubicBezTo>
                    <a:pt x="141" y="33"/>
                    <a:pt x="126" y="20"/>
                    <a:pt x="107" y="20"/>
                  </a:cubicBezTo>
                  <a:cubicBezTo>
                    <a:pt x="85" y="20"/>
                    <a:pt x="69" y="36"/>
                    <a:pt x="60" y="69"/>
                  </a:cubicBezTo>
                  <a:cubicBezTo>
                    <a:pt x="56" y="82"/>
                    <a:pt x="54" y="99"/>
                    <a:pt x="54" y="118"/>
                  </a:cubicBezTo>
                  <a:lnTo>
                    <a:pt x="157" y="1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" name="Freeform 15"/>
            <p:cNvSpPr>
              <a:spLocks/>
            </p:cNvSpPr>
            <p:nvPr userDrawn="1"/>
          </p:nvSpPr>
          <p:spPr bwMode="auto">
            <a:xfrm>
              <a:off x="3103563" y="6834188"/>
              <a:ext cx="541338" cy="368300"/>
            </a:xfrm>
            <a:custGeom>
              <a:avLst/>
              <a:gdLst>
                <a:gd name="T0" fmla="*/ 312 w 396"/>
                <a:gd name="T1" fmla="*/ 270 h 270"/>
                <a:gd name="T2" fmla="*/ 312 w 396"/>
                <a:gd name="T3" fmla="*/ 108 h 270"/>
                <a:gd name="T4" fmla="*/ 305 w 396"/>
                <a:gd name="T5" fmla="*/ 44 h 270"/>
                <a:gd name="T6" fmla="*/ 275 w 396"/>
                <a:gd name="T7" fmla="*/ 25 h 270"/>
                <a:gd name="T8" fmla="*/ 236 w 396"/>
                <a:gd name="T9" fmla="*/ 52 h 270"/>
                <a:gd name="T10" fmla="*/ 225 w 396"/>
                <a:gd name="T11" fmla="*/ 84 h 270"/>
                <a:gd name="T12" fmla="*/ 223 w 396"/>
                <a:gd name="T13" fmla="*/ 134 h 270"/>
                <a:gd name="T14" fmla="*/ 223 w 396"/>
                <a:gd name="T15" fmla="*/ 205 h 270"/>
                <a:gd name="T16" fmla="*/ 230 w 396"/>
                <a:gd name="T17" fmla="*/ 245 h 270"/>
                <a:gd name="T18" fmla="*/ 252 w 396"/>
                <a:gd name="T19" fmla="*/ 252 h 270"/>
                <a:gd name="T20" fmla="*/ 261 w 396"/>
                <a:gd name="T21" fmla="*/ 252 h 270"/>
                <a:gd name="T22" fmla="*/ 261 w 396"/>
                <a:gd name="T23" fmla="*/ 270 h 270"/>
                <a:gd name="T24" fmla="*/ 175 w 396"/>
                <a:gd name="T25" fmla="*/ 270 h 270"/>
                <a:gd name="T26" fmla="*/ 175 w 396"/>
                <a:gd name="T27" fmla="*/ 117 h 270"/>
                <a:gd name="T28" fmla="*/ 173 w 396"/>
                <a:gd name="T29" fmla="*/ 66 h 270"/>
                <a:gd name="T30" fmla="*/ 137 w 396"/>
                <a:gd name="T31" fmla="*/ 25 h 270"/>
                <a:gd name="T32" fmla="*/ 99 w 396"/>
                <a:gd name="T33" fmla="*/ 53 h 270"/>
                <a:gd name="T34" fmla="*/ 89 w 396"/>
                <a:gd name="T35" fmla="*/ 81 h 270"/>
                <a:gd name="T36" fmla="*/ 86 w 396"/>
                <a:gd name="T37" fmla="*/ 134 h 270"/>
                <a:gd name="T38" fmla="*/ 86 w 396"/>
                <a:gd name="T39" fmla="*/ 205 h 270"/>
                <a:gd name="T40" fmla="*/ 93 w 396"/>
                <a:gd name="T41" fmla="*/ 245 h 270"/>
                <a:gd name="T42" fmla="*/ 116 w 396"/>
                <a:gd name="T43" fmla="*/ 252 h 270"/>
                <a:gd name="T44" fmla="*/ 124 w 396"/>
                <a:gd name="T45" fmla="*/ 252 h 270"/>
                <a:gd name="T46" fmla="*/ 124 w 396"/>
                <a:gd name="T47" fmla="*/ 270 h 270"/>
                <a:gd name="T48" fmla="*/ 0 w 396"/>
                <a:gd name="T49" fmla="*/ 270 h 270"/>
                <a:gd name="T50" fmla="*/ 0 w 396"/>
                <a:gd name="T51" fmla="*/ 252 h 270"/>
                <a:gd name="T52" fmla="*/ 9 w 396"/>
                <a:gd name="T53" fmla="*/ 252 h 270"/>
                <a:gd name="T54" fmla="*/ 31 w 396"/>
                <a:gd name="T55" fmla="*/ 245 h 270"/>
                <a:gd name="T56" fmla="*/ 38 w 396"/>
                <a:gd name="T57" fmla="*/ 205 h 270"/>
                <a:gd name="T58" fmla="*/ 38 w 396"/>
                <a:gd name="T59" fmla="*/ 69 h 270"/>
                <a:gd name="T60" fmla="*/ 31 w 396"/>
                <a:gd name="T61" fmla="*/ 30 h 270"/>
                <a:gd name="T62" fmla="*/ 9 w 396"/>
                <a:gd name="T63" fmla="*/ 24 h 270"/>
                <a:gd name="T64" fmla="*/ 2 w 396"/>
                <a:gd name="T65" fmla="*/ 24 h 270"/>
                <a:gd name="T66" fmla="*/ 2 w 396"/>
                <a:gd name="T67" fmla="*/ 6 h 270"/>
                <a:gd name="T68" fmla="*/ 83 w 396"/>
                <a:gd name="T69" fmla="*/ 2 h 270"/>
                <a:gd name="T70" fmla="*/ 83 w 396"/>
                <a:gd name="T71" fmla="*/ 49 h 270"/>
                <a:gd name="T72" fmla="*/ 99 w 396"/>
                <a:gd name="T73" fmla="*/ 23 h 270"/>
                <a:gd name="T74" fmla="*/ 150 w 396"/>
                <a:gd name="T75" fmla="*/ 0 h 270"/>
                <a:gd name="T76" fmla="*/ 217 w 396"/>
                <a:gd name="T77" fmla="*/ 52 h 270"/>
                <a:gd name="T78" fmla="*/ 288 w 396"/>
                <a:gd name="T79" fmla="*/ 0 h 270"/>
                <a:gd name="T80" fmla="*/ 346 w 396"/>
                <a:gd name="T81" fmla="*/ 30 h 270"/>
                <a:gd name="T82" fmla="*/ 358 w 396"/>
                <a:gd name="T83" fmla="*/ 66 h 270"/>
                <a:gd name="T84" fmla="*/ 360 w 396"/>
                <a:gd name="T85" fmla="*/ 102 h 270"/>
                <a:gd name="T86" fmla="*/ 360 w 396"/>
                <a:gd name="T87" fmla="*/ 205 h 270"/>
                <a:gd name="T88" fmla="*/ 367 w 396"/>
                <a:gd name="T89" fmla="*/ 245 h 270"/>
                <a:gd name="T90" fmla="*/ 389 w 396"/>
                <a:gd name="T91" fmla="*/ 252 h 270"/>
                <a:gd name="T92" fmla="*/ 396 w 396"/>
                <a:gd name="T93" fmla="*/ 252 h 270"/>
                <a:gd name="T94" fmla="*/ 396 w 396"/>
                <a:gd name="T95" fmla="*/ 270 h 270"/>
                <a:gd name="T96" fmla="*/ 312 w 396"/>
                <a:gd name="T97" fmla="*/ 27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96" h="270">
                  <a:moveTo>
                    <a:pt x="312" y="270"/>
                  </a:moveTo>
                  <a:cubicBezTo>
                    <a:pt x="312" y="108"/>
                    <a:pt x="312" y="108"/>
                    <a:pt x="312" y="108"/>
                  </a:cubicBezTo>
                  <a:cubicBezTo>
                    <a:pt x="312" y="75"/>
                    <a:pt x="309" y="54"/>
                    <a:pt x="305" y="44"/>
                  </a:cubicBezTo>
                  <a:cubicBezTo>
                    <a:pt x="298" y="31"/>
                    <a:pt x="288" y="25"/>
                    <a:pt x="275" y="25"/>
                  </a:cubicBezTo>
                  <a:cubicBezTo>
                    <a:pt x="259" y="25"/>
                    <a:pt x="246" y="34"/>
                    <a:pt x="236" y="52"/>
                  </a:cubicBezTo>
                  <a:cubicBezTo>
                    <a:pt x="231" y="62"/>
                    <a:pt x="227" y="73"/>
                    <a:pt x="225" y="84"/>
                  </a:cubicBezTo>
                  <a:cubicBezTo>
                    <a:pt x="224" y="93"/>
                    <a:pt x="223" y="109"/>
                    <a:pt x="223" y="134"/>
                  </a:cubicBezTo>
                  <a:cubicBezTo>
                    <a:pt x="223" y="205"/>
                    <a:pt x="223" y="205"/>
                    <a:pt x="223" y="205"/>
                  </a:cubicBezTo>
                  <a:cubicBezTo>
                    <a:pt x="223" y="226"/>
                    <a:pt x="226" y="240"/>
                    <a:pt x="230" y="245"/>
                  </a:cubicBezTo>
                  <a:cubicBezTo>
                    <a:pt x="234" y="250"/>
                    <a:pt x="242" y="252"/>
                    <a:pt x="252" y="252"/>
                  </a:cubicBezTo>
                  <a:cubicBezTo>
                    <a:pt x="261" y="252"/>
                    <a:pt x="261" y="252"/>
                    <a:pt x="261" y="252"/>
                  </a:cubicBezTo>
                  <a:cubicBezTo>
                    <a:pt x="261" y="270"/>
                    <a:pt x="261" y="270"/>
                    <a:pt x="261" y="270"/>
                  </a:cubicBezTo>
                  <a:cubicBezTo>
                    <a:pt x="175" y="270"/>
                    <a:pt x="175" y="270"/>
                    <a:pt x="175" y="270"/>
                  </a:cubicBezTo>
                  <a:cubicBezTo>
                    <a:pt x="175" y="117"/>
                    <a:pt x="175" y="117"/>
                    <a:pt x="175" y="117"/>
                  </a:cubicBezTo>
                  <a:cubicBezTo>
                    <a:pt x="175" y="91"/>
                    <a:pt x="174" y="74"/>
                    <a:pt x="173" y="66"/>
                  </a:cubicBezTo>
                  <a:cubicBezTo>
                    <a:pt x="169" y="39"/>
                    <a:pt x="157" y="25"/>
                    <a:pt x="137" y="25"/>
                  </a:cubicBezTo>
                  <a:cubicBezTo>
                    <a:pt x="121" y="25"/>
                    <a:pt x="108" y="34"/>
                    <a:pt x="99" y="53"/>
                  </a:cubicBezTo>
                  <a:cubicBezTo>
                    <a:pt x="94" y="62"/>
                    <a:pt x="91" y="71"/>
                    <a:pt x="89" y="81"/>
                  </a:cubicBezTo>
                  <a:cubicBezTo>
                    <a:pt x="87" y="91"/>
                    <a:pt x="86" y="108"/>
                    <a:pt x="86" y="134"/>
                  </a:cubicBezTo>
                  <a:cubicBezTo>
                    <a:pt x="86" y="205"/>
                    <a:pt x="86" y="205"/>
                    <a:pt x="86" y="205"/>
                  </a:cubicBezTo>
                  <a:cubicBezTo>
                    <a:pt x="86" y="227"/>
                    <a:pt x="89" y="240"/>
                    <a:pt x="93" y="245"/>
                  </a:cubicBezTo>
                  <a:cubicBezTo>
                    <a:pt x="97" y="250"/>
                    <a:pt x="105" y="252"/>
                    <a:pt x="116" y="252"/>
                  </a:cubicBezTo>
                  <a:cubicBezTo>
                    <a:pt x="124" y="252"/>
                    <a:pt x="124" y="252"/>
                    <a:pt x="124" y="252"/>
                  </a:cubicBezTo>
                  <a:cubicBezTo>
                    <a:pt x="124" y="270"/>
                    <a:pt x="124" y="270"/>
                    <a:pt x="124" y="270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252"/>
                    <a:pt x="0" y="252"/>
                    <a:pt x="0" y="252"/>
                  </a:cubicBezTo>
                  <a:cubicBezTo>
                    <a:pt x="9" y="252"/>
                    <a:pt x="9" y="252"/>
                    <a:pt x="9" y="252"/>
                  </a:cubicBezTo>
                  <a:cubicBezTo>
                    <a:pt x="19" y="252"/>
                    <a:pt x="27" y="250"/>
                    <a:pt x="31" y="245"/>
                  </a:cubicBezTo>
                  <a:cubicBezTo>
                    <a:pt x="36" y="240"/>
                    <a:pt x="38" y="226"/>
                    <a:pt x="38" y="205"/>
                  </a:cubicBezTo>
                  <a:cubicBezTo>
                    <a:pt x="38" y="69"/>
                    <a:pt x="38" y="69"/>
                    <a:pt x="38" y="69"/>
                  </a:cubicBezTo>
                  <a:cubicBezTo>
                    <a:pt x="38" y="49"/>
                    <a:pt x="36" y="36"/>
                    <a:pt x="31" y="30"/>
                  </a:cubicBezTo>
                  <a:cubicBezTo>
                    <a:pt x="27" y="26"/>
                    <a:pt x="19" y="24"/>
                    <a:pt x="9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83" y="2"/>
                    <a:pt x="83" y="2"/>
                    <a:pt x="83" y="2"/>
                  </a:cubicBezTo>
                  <a:cubicBezTo>
                    <a:pt x="83" y="49"/>
                    <a:pt x="83" y="49"/>
                    <a:pt x="83" y="49"/>
                  </a:cubicBezTo>
                  <a:cubicBezTo>
                    <a:pt x="87" y="39"/>
                    <a:pt x="92" y="31"/>
                    <a:pt x="99" y="23"/>
                  </a:cubicBezTo>
                  <a:cubicBezTo>
                    <a:pt x="113" y="8"/>
                    <a:pt x="130" y="0"/>
                    <a:pt x="150" y="0"/>
                  </a:cubicBezTo>
                  <a:cubicBezTo>
                    <a:pt x="181" y="0"/>
                    <a:pt x="203" y="18"/>
                    <a:pt x="217" y="52"/>
                  </a:cubicBezTo>
                  <a:cubicBezTo>
                    <a:pt x="234" y="18"/>
                    <a:pt x="257" y="0"/>
                    <a:pt x="288" y="0"/>
                  </a:cubicBezTo>
                  <a:cubicBezTo>
                    <a:pt x="314" y="0"/>
                    <a:pt x="333" y="10"/>
                    <a:pt x="346" y="30"/>
                  </a:cubicBezTo>
                  <a:cubicBezTo>
                    <a:pt x="353" y="41"/>
                    <a:pt x="357" y="53"/>
                    <a:pt x="358" y="66"/>
                  </a:cubicBezTo>
                  <a:cubicBezTo>
                    <a:pt x="359" y="77"/>
                    <a:pt x="360" y="89"/>
                    <a:pt x="360" y="102"/>
                  </a:cubicBezTo>
                  <a:cubicBezTo>
                    <a:pt x="360" y="205"/>
                    <a:pt x="360" y="205"/>
                    <a:pt x="360" y="205"/>
                  </a:cubicBezTo>
                  <a:cubicBezTo>
                    <a:pt x="360" y="226"/>
                    <a:pt x="362" y="240"/>
                    <a:pt x="367" y="245"/>
                  </a:cubicBezTo>
                  <a:cubicBezTo>
                    <a:pt x="371" y="250"/>
                    <a:pt x="378" y="252"/>
                    <a:pt x="389" y="252"/>
                  </a:cubicBezTo>
                  <a:cubicBezTo>
                    <a:pt x="396" y="252"/>
                    <a:pt x="396" y="252"/>
                    <a:pt x="396" y="252"/>
                  </a:cubicBezTo>
                  <a:cubicBezTo>
                    <a:pt x="396" y="270"/>
                    <a:pt x="396" y="270"/>
                    <a:pt x="396" y="270"/>
                  </a:cubicBezTo>
                  <a:lnTo>
                    <a:pt x="312" y="2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" name="Freeform 16"/>
            <p:cNvSpPr>
              <a:spLocks/>
            </p:cNvSpPr>
            <p:nvPr userDrawn="1"/>
          </p:nvSpPr>
          <p:spPr bwMode="auto">
            <a:xfrm>
              <a:off x="3681413" y="6834188"/>
              <a:ext cx="252413" cy="376237"/>
            </a:xfrm>
            <a:custGeom>
              <a:avLst/>
              <a:gdLst>
                <a:gd name="T0" fmla="*/ 168 w 184"/>
                <a:gd name="T1" fmla="*/ 6 h 275"/>
                <a:gd name="T2" fmla="*/ 168 w 184"/>
                <a:gd name="T3" fmla="*/ 89 h 275"/>
                <a:gd name="T4" fmla="*/ 151 w 184"/>
                <a:gd name="T5" fmla="*/ 89 h 275"/>
                <a:gd name="T6" fmla="*/ 84 w 184"/>
                <a:gd name="T7" fmla="*/ 17 h 275"/>
                <a:gd name="T8" fmla="*/ 53 w 184"/>
                <a:gd name="T9" fmla="*/ 28 h 275"/>
                <a:gd name="T10" fmla="*/ 41 w 184"/>
                <a:gd name="T11" fmla="*/ 57 h 275"/>
                <a:gd name="T12" fmla="*/ 58 w 184"/>
                <a:gd name="T13" fmla="*/ 88 h 275"/>
                <a:gd name="T14" fmla="*/ 88 w 184"/>
                <a:gd name="T15" fmla="*/ 101 h 275"/>
                <a:gd name="T16" fmla="*/ 152 w 184"/>
                <a:gd name="T17" fmla="*/ 128 h 275"/>
                <a:gd name="T18" fmla="*/ 184 w 184"/>
                <a:gd name="T19" fmla="*/ 191 h 275"/>
                <a:gd name="T20" fmla="*/ 156 w 184"/>
                <a:gd name="T21" fmla="*/ 255 h 275"/>
                <a:gd name="T22" fmla="*/ 98 w 184"/>
                <a:gd name="T23" fmla="*/ 275 h 275"/>
                <a:gd name="T24" fmla="*/ 59 w 184"/>
                <a:gd name="T25" fmla="*/ 268 h 275"/>
                <a:gd name="T26" fmla="*/ 33 w 184"/>
                <a:gd name="T27" fmla="*/ 254 h 275"/>
                <a:gd name="T28" fmla="*/ 26 w 184"/>
                <a:gd name="T29" fmla="*/ 252 h 275"/>
                <a:gd name="T30" fmla="*/ 16 w 184"/>
                <a:gd name="T31" fmla="*/ 270 h 275"/>
                <a:gd name="T32" fmla="*/ 0 w 184"/>
                <a:gd name="T33" fmla="*/ 270 h 275"/>
                <a:gd name="T34" fmla="*/ 0 w 184"/>
                <a:gd name="T35" fmla="*/ 172 h 275"/>
                <a:gd name="T36" fmla="*/ 16 w 184"/>
                <a:gd name="T37" fmla="*/ 172 h 275"/>
                <a:gd name="T38" fmla="*/ 37 w 184"/>
                <a:gd name="T39" fmla="*/ 224 h 275"/>
                <a:gd name="T40" fmla="*/ 63 w 184"/>
                <a:gd name="T41" fmla="*/ 248 h 275"/>
                <a:gd name="T42" fmla="*/ 97 w 184"/>
                <a:gd name="T43" fmla="*/ 257 h 275"/>
                <a:gd name="T44" fmla="*/ 131 w 184"/>
                <a:gd name="T45" fmla="*/ 242 h 275"/>
                <a:gd name="T46" fmla="*/ 144 w 184"/>
                <a:gd name="T47" fmla="*/ 210 h 275"/>
                <a:gd name="T48" fmla="*/ 120 w 184"/>
                <a:gd name="T49" fmla="*/ 170 h 275"/>
                <a:gd name="T50" fmla="*/ 69 w 184"/>
                <a:gd name="T51" fmla="*/ 149 h 275"/>
                <a:gd name="T52" fmla="*/ 28 w 184"/>
                <a:gd name="T53" fmla="*/ 128 h 275"/>
                <a:gd name="T54" fmla="*/ 2 w 184"/>
                <a:gd name="T55" fmla="*/ 72 h 275"/>
                <a:gd name="T56" fmla="*/ 26 w 184"/>
                <a:gd name="T57" fmla="*/ 19 h 275"/>
                <a:gd name="T58" fmla="*/ 80 w 184"/>
                <a:gd name="T59" fmla="*/ 0 h 275"/>
                <a:gd name="T60" fmla="*/ 134 w 184"/>
                <a:gd name="T61" fmla="*/ 16 h 275"/>
                <a:gd name="T62" fmla="*/ 142 w 184"/>
                <a:gd name="T63" fmla="*/ 19 h 275"/>
                <a:gd name="T64" fmla="*/ 151 w 184"/>
                <a:gd name="T65" fmla="*/ 6 h 275"/>
                <a:gd name="T66" fmla="*/ 168 w 184"/>
                <a:gd name="T67" fmla="*/ 6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84" h="275">
                  <a:moveTo>
                    <a:pt x="168" y="6"/>
                  </a:moveTo>
                  <a:cubicBezTo>
                    <a:pt x="168" y="89"/>
                    <a:pt x="168" y="89"/>
                    <a:pt x="168" y="89"/>
                  </a:cubicBezTo>
                  <a:cubicBezTo>
                    <a:pt x="151" y="89"/>
                    <a:pt x="151" y="89"/>
                    <a:pt x="151" y="89"/>
                  </a:cubicBezTo>
                  <a:cubicBezTo>
                    <a:pt x="141" y="41"/>
                    <a:pt x="119" y="17"/>
                    <a:pt x="84" y="17"/>
                  </a:cubicBezTo>
                  <a:cubicBezTo>
                    <a:pt x="71" y="17"/>
                    <a:pt x="61" y="21"/>
                    <a:pt x="53" y="28"/>
                  </a:cubicBezTo>
                  <a:cubicBezTo>
                    <a:pt x="45" y="36"/>
                    <a:pt x="41" y="46"/>
                    <a:pt x="41" y="57"/>
                  </a:cubicBezTo>
                  <a:cubicBezTo>
                    <a:pt x="41" y="70"/>
                    <a:pt x="46" y="80"/>
                    <a:pt x="58" y="88"/>
                  </a:cubicBezTo>
                  <a:cubicBezTo>
                    <a:pt x="63" y="92"/>
                    <a:pt x="74" y="96"/>
                    <a:pt x="88" y="101"/>
                  </a:cubicBezTo>
                  <a:cubicBezTo>
                    <a:pt x="120" y="111"/>
                    <a:pt x="142" y="120"/>
                    <a:pt x="152" y="128"/>
                  </a:cubicBezTo>
                  <a:cubicBezTo>
                    <a:pt x="173" y="144"/>
                    <a:pt x="184" y="165"/>
                    <a:pt x="184" y="191"/>
                  </a:cubicBezTo>
                  <a:cubicBezTo>
                    <a:pt x="184" y="217"/>
                    <a:pt x="175" y="238"/>
                    <a:pt x="156" y="255"/>
                  </a:cubicBezTo>
                  <a:cubicBezTo>
                    <a:pt x="141" y="269"/>
                    <a:pt x="121" y="275"/>
                    <a:pt x="98" y="275"/>
                  </a:cubicBezTo>
                  <a:cubicBezTo>
                    <a:pt x="84" y="275"/>
                    <a:pt x="71" y="273"/>
                    <a:pt x="59" y="268"/>
                  </a:cubicBezTo>
                  <a:cubicBezTo>
                    <a:pt x="55" y="266"/>
                    <a:pt x="46" y="262"/>
                    <a:pt x="33" y="254"/>
                  </a:cubicBezTo>
                  <a:cubicBezTo>
                    <a:pt x="31" y="253"/>
                    <a:pt x="28" y="252"/>
                    <a:pt x="26" y="252"/>
                  </a:cubicBezTo>
                  <a:cubicBezTo>
                    <a:pt x="23" y="252"/>
                    <a:pt x="19" y="258"/>
                    <a:pt x="16" y="270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172"/>
                    <a:pt x="0" y="172"/>
                    <a:pt x="0" y="172"/>
                  </a:cubicBezTo>
                  <a:cubicBezTo>
                    <a:pt x="16" y="172"/>
                    <a:pt x="16" y="172"/>
                    <a:pt x="16" y="172"/>
                  </a:cubicBezTo>
                  <a:cubicBezTo>
                    <a:pt x="22" y="196"/>
                    <a:pt x="29" y="214"/>
                    <a:pt x="37" y="224"/>
                  </a:cubicBezTo>
                  <a:cubicBezTo>
                    <a:pt x="44" y="234"/>
                    <a:pt x="52" y="242"/>
                    <a:pt x="63" y="248"/>
                  </a:cubicBezTo>
                  <a:cubicBezTo>
                    <a:pt x="74" y="254"/>
                    <a:pt x="85" y="257"/>
                    <a:pt x="97" y="257"/>
                  </a:cubicBezTo>
                  <a:cubicBezTo>
                    <a:pt x="112" y="257"/>
                    <a:pt x="123" y="252"/>
                    <a:pt x="131" y="242"/>
                  </a:cubicBezTo>
                  <a:cubicBezTo>
                    <a:pt x="139" y="233"/>
                    <a:pt x="144" y="222"/>
                    <a:pt x="144" y="210"/>
                  </a:cubicBezTo>
                  <a:cubicBezTo>
                    <a:pt x="144" y="193"/>
                    <a:pt x="136" y="179"/>
                    <a:pt x="120" y="170"/>
                  </a:cubicBezTo>
                  <a:cubicBezTo>
                    <a:pt x="112" y="164"/>
                    <a:pt x="95" y="158"/>
                    <a:pt x="69" y="149"/>
                  </a:cubicBezTo>
                  <a:cubicBezTo>
                    <a:pt x="52" y="144"/>
                    <a:pt x="39" y="137"/>
                    <a:pt x="28" y="128"/>
                  </a:cubicBezTo>
                  <a:cubicBezTo>
                    <a:pt x="11" y="115"/>
                    <a:pt x="2" y="97"/>
                    <a:pt x="2" y="72"/>
                  </a:cubicBezTo>
                  <a:cubicBezTo>
                    <a:pt x="2" y="50"/>
                    <a:pt x="10" y="32"/>
                    <a:pt x="26" y="19"/>
                  </a:cubicBezTo>
                  <a:cubicBezTo>
                    <a:pt x="40" y="6"/>
                    <a:pt x="58" y="0"/>
                    <a:pt x="80" y="0"/>
                  </a:cubicBezTo>
                  <a:cubicBezTo>
                    <a:pt x="99" y="0"/>
                    <a:pt x="117" y="5"/>
                    <a:pt x="134" y="16"/>
                  </a:cubicBezTo>
                  <a:cubicBezTo>
                    <a:pt x="138" y="18"/>
                    <a:pt x="140" y="19"/>
                    <a:pt x="142" y="19"/>
                  </a:cubicBezTo>
                  <a:cubicBezTo>
                    <a:pt x="146" y="19"/>
                    <a:pt x="149" y="14"/>
                    <a:pt x="151" y="6"/>
                  </a:cubicBezTo>
                  <a:lnTo>
                    <a:pt x="168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2" name="Freeform 17"/>
            <p:cNvSpPr>
              <a:spLocks/>
            </p:cNvSpPr>
            <p:nvPr userDrawn="1"/>
          </p:nvSpPr>
          <p:spPr bwMode="auto">
            <a:xfrm>
              <a:off x="4016376" y="6908800"/>
              <a:ext cx="109538" cy="111125"/>
            </a:xfrm>
            <a:custGeom>
              <a:avLst/>
              <a:gdLst>
                <a:gd name="T0" fmla="*/ 0 w 69"/>
                <a:gd name="T1" fmla="*/ 70 h 70"/>
                <a:gd name="T2" fmla="*/ 0 w 69"/>
                <a:gd name="T3" fmla="*/ 0 h 70"/>
                <a:gd name="T4" fmla="*/ 38 w 69"/>
                <a:gd name="T5" fmla="*/ 0 h 70"/>
                <a:gd name="T6" fmla="*/ 69 w 69"/>
                <a:gd name="T7" fmla="*/ 0 h 70"/>
                <a:gd name="T8" fmla="*/ 69 w 69"/>
                <a:gd name="T9" fmla="*/ 70 h 70"/>
                <a:gd name="T10" fmla="*/ 0 w 69"/>
                <a:gd name="T11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9" h="70">
                  <a:moveTo>
                    <a:pt x="0" y="70"/>
                  </a:moveTo>
                  <a:lnTo>
                    <a:pt x="0" y="0"/>
                  </a:lnTo>
                  <a:lnTo>
                    <a:pt x="38" y="0"/>
                  </a:lnTo>
                  <a:lnTo>
                    <a:pt x="69" y="0"/>
                  </a:lnTo>
                  <a:lnTo>
                    <a:pt x="69" y="70"/>
                  </a:lnTo>
                  <a:lnTo>
                    <a:pt x="0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8670895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ith shaded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3"/>
          <p:cNvSpPr>
            <a:spLocks/>
          </p:cNvSpPr>
          <p:nvPr userDrawn="1"/>
        </p:nvSpPr>
        <p:spPr bwMode="invGray">
          <a:xfrm>
            <a:off x="360000" y="3560510"/>
            <a:ext cx="9359901" cy="2560890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 defTabSz="576263" fontAlgn="base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en-US" sz="4000" dirty="0">
              <a:solidFill>
                <a:srgbClr val="E20074"/>
              </a:solidFill>
              <a:latin typeface="TeleGrotesk Headline Ultra" pitchFamily="2" charset="0"/>
              <a:cs typeface="Arial Unicode MS" panose="020B0604020202020204" pitchFamily="34" charset="-128"/>
            </a:endParaRPr>
          </a:p>
        </p:txBody>
      </p:sp>
      <p:sp>
        <p:nvSpPr>
          <p:cNvPr id="13" name="Titel 3"/>
          <p:cNvSpPr>
            <a:spLocks/>
          </p:cNvSpPr>
          <p:nvPr userDrawn="1"/>
        </p:nvSpPr>
        <p:spPr bwMode="invGray">
          <a:xfrm>
            <a:off x="360000" y="2269846"/>
            <a:ext cx="9034573" cy="3851554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 defTabSz="576263" fontAlgn="base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en-US" sz="4000" noProof="0" dirty="0">
              <a:solidFill>
                <a:srgbClr val="E20074"/>
              </a:solidFill>
              <a:latin typeface="TeleGrotesk Headline Ultra" pitchFamily="2" charset="0"/>
              <a:cs typeface="Arial Unicode MS" panose="020B0604020202020204" pitchFamily="34" charset="-128"/>
            </a:endParaRPr>
          </a:p>
        </p:txBody>
      </p:sp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ltGray">
          <a:xfrm>
            <a:off x="360000" y="2631232"/>
            <a:ext cx="8697256" cy="3490168"/>
          </a:xfrm>
          <a:solidFill>
            <a:schemeClr val="tx2"/>
          </a:solidFill>
        </p:spPr>
        <p:txBody>
          <a:bodyPr lIns="144000">
            <a:noAutofit/>
          </a:bodyPr>
          <a:lstStyle>
            <a:lvl1pPr>
              <a:defRPr sz="4800" smtClean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sz="4800" dirty="0" smtClean="0"/>
              <a:t>TELEGROTESK Headline ULTRA</a:t>
            </a:r>
            <a:br>
              <a:rPr lang="en-US" sz="4800" dirty="0" smtClean="0"/>
            </a:br>
            <a:r>
              <a:rPr lang="en-US" sz="4800" dirty="0" smtClean="0">
                <a:latin typeface="TeleGrotesk Headline" pitchFamily="2" charset="0"/>
              </a:rPr>
              <a:t>Maximum of 3 lines</a:t>
            </a:r>
            <a:br>
              <a:rPr lang="en-US" sz="4800" dirty="0" smtClean="0">
                <a:latin typeface="TeleGrotesk Headline" pitchFamily="2" charset="0"/>
              </a:rPr>
            </a:br>
            <a:r>
              <a:rPr lang="en-US" sz="4800" dirty="0" smtClean="0">
                <a:latin typeface="TeleGrotesk Headline" pitchFamily="2" charset="0"/>
              </a:rPr>
              <a:t>40 (48) 60 PT</a:t>
            </a:r>
            <a:endParaRPr lang="en-US" dirty="0" smtClean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60000" y="5346000"/>
            <a:ext cx="8423751" cy="384080"/>
          </a:xfrm>
        </p:spPr>
        <p:txBody>
          <a:bodyPr wrap="square" lIns="144000">
            <a:spAutoFit/>
          </a:bodyPr>
          <a:lstStyle>
            <a:lvl1pPr>
              <a:spcBef>
                <a:spcPts val="0"/>
              </a:spcBef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 dirty="0" smtClean="0"/>
              <a:t>Sub-heading: Tele-</a:t>
            </a:r>
            <a:r>
              <a:rPr lang="en-US" dirty="0" err="1" smtClean="0"/>
              <a:t>Grotesk</a:t>
            </a:r>
            <a:r>
              <a:rPr lang="en-US" dirty="0" smtClean="0"/>
              <a:t> Normal, 24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pic>
        <p:nvPicPr>
          <p:cNvPr id="35" name="Grafik 34" descr="TSY_Logo_3c_p.emf"/>
          <p:cNvPicPr>
            <a:picLocks noChangeAspect="1"/>
          </p:cNvPicPr>
          <p:nvPr userDrawn="1"/>
        </p:nvPicPr>
        <p:blipFill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9999" y="6660000"/>
            <a:ext cx="3765414" cy="68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39761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Picture 19"/>
          <p:cNvPicPr preferRelativeResize="0"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360363" y="360000"/>
            <a:ext cx="9360000" cy="3832998"/>
          </a:xfrm>
          <a:prstGeom prst="rect">
            <a:avLst/>
          </a:prstGeom>
          <a:noFill/>
        </p:spPr>
      </p:pic>
      <p:pic>
        <p:nvPicPr>
          <p:cNvPr id="10" name="Picture 27" descr="magenta_flaeche_70"/>
          <p:cNvPicPr>
            <a:picLocks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68"/>
          <a:stretch>
            <a:fillRect/>
          </a:stretch>
        </p:blipFill>
        <p:spPr bwMode="gray">
          <a:xfrm>
            <a:off x="360000" y="3660229"/>
            <a:ext cx="9360000" cy="535328"/>
          </a:xfrm>
          <a:prstGeom prst="rect">
            <a:avLst/>
          </a:prstGeom>
          <a:noFill/>
        </p:spPr>
      </p:pic>
      <p:sp>
        <p:nvSpPr>
          <p:cNvPr id="45058" name="Titelplatzhalter 1"/>
          <p:cNvSpPr>
            <a:spLocks noGrp="1"/>
          </p:cNvSpPr>
          <p:nvPr userDrawn="1">
            <p:ph type="ctrTitle" hasCustomPrompt="1"/>
          </p:nvPr>
        </p:nvSpPr>
        <p:spPr bwMode="gray">
          <a:xfrm>
            <a:off x="360000" y="4017731"/>
            <a:ext cx="9360000" cy="2103669"/>
          </a:xfrm>
          <a:solidFill>
            <a:schemeClr val="tx2"/>
          </a:solidFill>
        </p:spPr>
        <p:txBody>
          <a:bodyPr lIns="143990">
            <a:noAutofit/>
          </a:bodyPr>
          <a:lstStyle>
            <a:lvl1pPr>
              <a:defRPr sz="40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Ultra</a:t>
            </a:r>
            <a:br>
              <a:rPr lang="en-US" dirty="0" smtClean="0"/>
            </a:br>
            <a:r>
              <a:rPr kumimoji="0" lang="en-US" sz="4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2 lines, (40) 48 PT</a:t>
            </a:r>
            <a:endParaRPr lang="en-US" dirty="0" smtClean="0"/>
          </a:p>
        </p:txBody>
      </p:sp>
      <p:sp>
        <p:nvSpPr>
          <p:cNvPr id="45059" name="Textplatzhalter 2"/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360000" y="5345957"/>
            <a:ext cx="9366613" cy="384080"/>
          </a:xfrm>
        </p:spPr>
        <p:txBody>
          <a:bodyPr wrap="square" lIns="143990">
            <a:spAutoFit/>
          </a:bodyPr>
          <a:lstStyle>
            <a:lvl1pPr marL="0" marR="0" indent="0" algn="l" defTabSz="576226" rtl="0" eaLnBrk="1" fontAlgn="base" latinLnBrk="0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 dirty="0" smtClean="0"/>
              <a:t>Sub-heading: Tele-</a:t>
            </a:r>
            <a:r>
              <a:rPr lang="en-US" dirty="0" err="1" smtClean="0"/>
              <a:t>Grotesk</a:t>
            </a:r>
            <a:r>
              <a:rPr lang="en-US" dirty="0" smtClean="0"/>
              <a:t> Normal, 24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pic>
        <p:nvPicPr>
          <p:cNvPr id="30" name="Grafik 29" descr="TSY_Logo_3c_p.emf"/>
          <p:cNvPicPr>
            <a:picLocks noChangeAspect="1"/>
          </p:cNvPicPr>
          <p:nvPr userDrawn="1"/>
        </p:nvPicPr>
        <p:blipFill>
          <a:blip r:embed="rId4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9999" y="6660000"/>
            <a:ext cx="3765414" cy="68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82311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andout (2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Ultra (24) 28 32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9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60000" y="1620000"/>
            <a:ext cx="4608000" cy="4860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buClr>
                <a:schemeClr val="tx1"/>
              </a:buClr>
              <a:defRPr sz="1400"/>
            </a:lvl3pPr>
            <a:lvl4pPr>
              <a:buClr>
                <a:schemeClr val="tx1"/>
              </a:buClr>
              <a:defRPr sz="1400"/>
            </a:lvl4pPr>
            <a:lvl5pPr>
              <a:buClr>
                <a:schemeClr val="tx1"/>
              </a:buCl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smtClean="0"/>
              <a:t>Click to edit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0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5112000" y="1620000"/>
            <a:ext cx="4608000" cy="4860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buClr>
                <a:schemeClr val="tx1"/>
              </a:buClr>
              <a:defRPr sz="1400"/>
            </a:lvl3pPr>
            <a:lvl4pPr>
              <a:buClr>
                <a:schemeClr val="tx1"/>
              </a:buClr>
              <a:defRPr sz="1400"/>
            </a:lvl4pPr>
            <a:lvl5pPr>
              <a:buClr>
                <a:schemeClr val="tx1"/>
              </a:buCl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smtClean="0"/>
              <a:t>Click to edit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dd.mm.yyyy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smtClean="0"/>
              <a:t>PTE MIK PM1 2018/19-1        -        PMO Basics</a:t>
            </a:r>
            <a:endParaRPr lang="en-US" noProof="0" dirty="0" smtClean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C068DA-D53D-462E-BFC0-FE45A468E8EF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67739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andout (3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Ultra (24) 28 32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10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60000" y="1620000"/>
            <a:ext cx="3008152" cy="4860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buClr>
                <a:schemeClr val="tx1"/>
              </a:buClr>
              <a:defRPr sz="1400"/>
            </a:lvl3pPr>
            <a:lvl4pPr>
              <a:buClr>
                <a:schemeClr val="tx1"/>
              </a:buClr>
              <a:defRPr sz="1400"/>
            </a:lvl4pPr>
            <a:lvl5pPr>
              <a:buClr>
                <a:schemeClr val="tx1"/>
              </a:buCl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smtClean="0"/>
              <a:t>Click to edit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1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6713798" y="1620000"/>
            <a:ext cx="3008152" cy="4860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buClr>
                <a:schemeClr val="tx1"/>
              </a:buClr>
              <a:defRPr sz="1400"/>
            </a:lvl3pPr>
            <a:lvl4pPr>
              <a:buClr>
                <a:schemeClr val="tx1"/>
              </a:buClr>
              <a:defRPr sz="1400"/>
            </a:lvl4pPr>
            <a:lvl5pPr>
              <a:buClr>
                <a:schemeClr val="tx1"/>
              </a:buCl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smtClean="0"/>
              <a:t>Click to edit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2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3537874" y="1620000"/>
            <a:ext cx="3008152" cy="4860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noProof="0" dirty="0" smtClean="0"/>
              <a:t>Click to edit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 smtClean="0"/>
              <a:t>dd.mm.yyyy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 smtClean="0"/>
              <a:t>PTE MIK PM1 2018/19-1        -        PMO Basics</a:t>
            </a:r>
            <a:endParaRPr lang="en-US" noProof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2C068DA-D53D-462E-BFC0-FE45A468E8EF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99627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andout (4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Ultra (24) 28 32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19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60000" y="1620000"/>
            <a:ext cx="2232000" cy="4860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buClr>
                <a:schemeClr val="tx1"/>
              </a:buClr>
              <a:defRPr sz="1400"/>
            </a:lvl3pPr>
            <a:lvl4pPr>
              <a:buClr>
                <a:schemeClr val="tx1"/>
              </a:buClr>
              <a:defRPr sz="1400"/>
            </a:lvl4pPr>
            <a:lvl5pPr>
              <a:buClr>
                <a:schemeClr val="tx1"/>
              </a:buCl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smtClean="0"/>
              <a:t>Click to edit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20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5112808" y="1620000"/>
            <a:ext cx="2232000" cy="4860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buClr>
                <a:schemeClr val="tx1"/>
              </a:buClr>
              <a:defRPr sz="1400"/>
            </a:lvl3pPr>
            <a:lvl4pPr>
              <a:buClr>
                <a:schemeClr val="tx1"/>
              </a:buClr>
              <a:defRPr sz="1400"/>
            </a:lvl4pPr>
            <a:lvl5pPr>
              <a:buClr>
                <a:schemeClr val="tx1"/>
              </a:buCl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smtClean="0"/>
              <a:t>Click to edit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21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2737378" y="1620000"/>
            <a:ext cx="2232000" cy="4860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noProof="0" dirty="0" smtClean="0"/>
              <a:t>Click to edit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22" name="Inhaltsplatzhalter 3"/>
          <p:cNvSpPr>
            <a:spLocks noGrp="1"/>
          </p:cNvSpPr>
          <p:nvPr>
            <p:ph sz="half" idx="14" hasCustomPrompt="1"/>
          </p:nvPr>
        </p:nvSpPr>
        <p:spPr>
          <a:xfrm>
            <a:off x="7488238" y="1620000"/>
            <a:ext cx="2232000" cy="4860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buClr>
                <a:schemeClr val="tx1"/>
              </a:buClr>
              <a:defRPr sz="1400"/>
            </a:lvl3pPr>
            <a:lvl4pPr>
              <a:buClr>
                <a:schemeClr val="tx1"/>
              </a:buClr>
              <a:defRPr sz="1400"/>
            </a:lvl4pPr>
            <a:lvl5pPr>
              <a:buClr>
                <a:schemeClr val="tx1"/>
              </a:buCl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smtClean="0"/>
              <a:t>Click to edit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 smtClean="0"/>
              <a:t>dd.mm.yyyy</a:t>
            </a:r>
            <a:endParaRPr lang="en-US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noProof="0" smtClean="0"/>
              <a:t>PTE MIK PM1 2018/19-1        -        PMO Basics</a:t>
            </a:r>
            <a:endParaRPr lang="en-US" noProof="0" dirty="0" smtClean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12C068DA-D53D-462E-BFC0-FE45A468E8EF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9785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36023" y="367569"/>
            <a:ext cx="7641493" cy="916212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7500969" y="7091105"/>
            <a:ext cx="1984623" cy="152702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dd.mm.yyyy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2819426" y="7091105"/>
            <a:ext cx="4522280" cy="152702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>
                <a:solidFill>
                  <a:srgbClr val="000000"/>
                </a:solidFill>
              </a:rPr>
              <a:t>PTE MIK PM1 2018/19-1        -        PMO Basics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9415587" y="7091105"/>
            <a:ext cx="318520" cy="152702"/>
          </a:xfrm>
        </p:spPr>
        <p:txBody>
          <a:bodyPr/>
          <a:lstStyle>
            <a:lvl1pPr>
              <a:defRPr/>
            </a:lvl1pPr>
          </a:lstStyle>
          <a:p>
            <a:fld id="{EF856C3B-4879-44CB-8ACD-F9C43CE31EF6}" type="slidenum">
              <a:rPr lang="de-DE">
                <a:solidFill>
                  <a:srgbClr val="000000"/>
                </a:solidFill>
              </a:rPr>
              <a:pPr/>
              <a:t>‹#›</a:t>
            </a:fld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7364117"/>
      </p:ext>
    </p:extLst>
  </p:cSld>
  <p:clrMapOvr>
    <a:masterClrMapping/>
  </p:clrMapOvr>
  <p:transition spd="med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with full-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68" y="0"/>
            <a:ext cx="10080476" cy="7647573"/>
          </a:xfrm>
          <a:prstGeom prst="rect">
            <a:avLst/>
          </a:prstGeom>
        </p:spPr>
      </p:pic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5255523"/>
              </p:ext>
            </p:extLst>
          </p:nvPr>
        </p:nvGraphicFramePr>
        <p:xfrm>
          <a:off x="1387" y="1855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44" name="think-cell Folie" r:id="rId8" imgW="360" imgH="360" progId="TCLayout.ActiveDocument.1">
                  <p:embed/>
                </p:oleObj>
              </mc:Choice>
              <mc:Fallback>
                <p:oleObj name="think-cell Folie" r:id="rId8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87" y="1855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19"/>
          <p:cNvGrpSpPr>
            <a:grpSpLocks/>
          </p:cNvGrpSpPr>
          <p:nvPr/>
        </p:nvGrpSpPr>
        <p:grpSpPr bwMode="gray">
          <a:xfrm>
            <a:off x="361483" y="3441654"/>
            <a:ext cx="9365545" cy="3762108"/>
            <a:chOff x="251" y="1858"/>
            <a:chExt cx="5282" cy="2031"/>
          </a:xfrm>
        </p:grpSpPr>
        <p:sp>
          <p:nvSpPr>
            <p:cNvPr id="15" name="Titel 3"/>
            <p:cNvSpPr>
              <a:spLocks/>
            </p:cNvSpPr>
            <p:nvPr>
              <p:custDataLst>
                <p:tags r:id="rId3"/>
              </p:custDataLst>
            </p:nvPr>
          </p:nvSpPr>
          <p:spPr bwMode="gray">
            <a:xfrm>
              <a:off x="251" y="2527"/>
              <a:ext cx="5282" cy="1362"/>
            </a:xfrm>
            <a:prstGeom prst="rect">
              <a:avLst/>
            </a:prstGeom>
            <a:solidFill>
              <a:srgbClr val="E20074">
                <a:alpha val="7000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lIns="144000" tIns="72000" rIns="144000" bIns="72000"/>
            <a:lstStyle/>
            <a:p>
              <a:pPr defTabSz="576226" fontAlgn="base">
                <a:lnSpc>
                  <a:spcPts val="3999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4000" dirty="0">
                <a:solidFill>
                  <a:srgbClr val="E20074"/>
                </a:solidFill>
                <a:latin typeface="TeleGrotesk Headline Ultra" pitchFamily="2" charset="0"/>
                <a:cs typeface="Arial Unicode MS" pitchFamily="34" charset="-128"/>
              </a:endParaRPr>
            </a:p>
          </p:txBody>
        </p:sp>
        <p:sp>
          <p:nvSpPr>
            <p:cNvPr id="16" name="Titel 3"/>
            <p:cNvSpPr>
              <a:spLocks/>
            </p:cNvSpPr>
            <p:nvPr>
              <p:custDataLst>
                <p:tags r:id="rId4"/>
              </p:custDataLst>
            </p:nvPr>
          </p:nvSpPr>
          <p:spPr bwMode="gray">
            <a:xfrm>
              <a:off x="251" y="1858"/>
              <a:ext cx="4817" cy="2031"/>
            </a:xfrm>
            <a:prstGeom prst="rect">
              <a:avLst/>
            </a:prstGeom>
            <a:solidFill>
              <a:srgbClr val="E20074">
                <a:alpha val="7000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lIns="144000" tIns="72000" rIns="144000" bIns="72000"/>
            <a:lstStyle/>
            <a:p>
              <a:pPr defTabSz="576226" fontAlgn="base">
                <a:lnSpc>
                  <a:spcPts val="3999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4000" dirty="0">
                <a:solidFill>
                  <a:srgbClr val="E20074"/>
                </a:solidFill>
                <a:latin typeface="TeleGrotesk Headline Ultra" pitchFamily="2" charset="0"/>
                <a:cs typeface="Arial Unicode MS" pitchFamily="34" charset="-128"/>
              </a:endParaRPr>
            </a:p>
          </p:txBody>
        </p:sp>
        <p:sp>
          <p:nvSpPr>
            <p:cNvPr id="17" name="Rectangle 4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251" y="2017"/>
              <a:ext cx="4502" cy="1872"/>
            </a:xfrm>
            <a:prstGeom prst="rect">
              <a:avLst/>
            </a:prstGeom>
            <a:solidFill>
              <a:schemeClr val="tx2"/>
            </a:solidFill>
            <a:ln w="9525">
              <a:noFill/>
              <a:miter lim="800000"/>
              <a:headEnd/>
              <a:tailEnd/>
            </a:ln>
          </p:spPr>
          <p:txBody>
            <a:bodyPr lIns="144000" tIns="72000" rIns="144000" bIns="72000" anchor="ctr"/>
            <a:lstStyle/>
            <a:p>
              <a:pPr defTabSz="457171" fontAlgn="base">
                <a:lnSpc>
                  <a:spcPts val="1799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  <a:buFont typeface="Wingdings" pitchFamily="2" charset="2"/>
                <a:buChar char="§"/>
              </a:pPr>
              <a:endParaRPr lang="en-US" sz="1800" dirty="0">
                <a:solidFill>
                  <a:srgbClr val="000000"/>
                </a:solidFill>
                <a:ea typeface="Arial Unicode MS" panose="020B0604020202020204" pitchFamily="34" charset="-128"/>
                <a:cs typeface="Arial Unicode MS" pitchFamily="34" charset="-128"/>
              </a:endParaRPr>
            </a:p>
          </p:txBody>
        </p:sp>
      </p:grpSp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gray">
          <a:xfrm>
            <a:off x="361950" y="3734323"/>
            <a:ext cx="7980841" cy="1661993"/>
          </a:xfrm>
          <a:noFill/>
        </p:spPr>
        <p:txBody>
          <a:bodyPr wrap="square" lIns="143990">
            <a:spAutoFit/>
          </a:bodyPr>
          <a:lstStyle>
            <a:lvl1pPr>
              <a:defRPr sz="40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smtClean="0"/>
              <a:t>TeleGrotesk Headline (Ultra)</a:t>
            </a:r>
            <a:br>
              <a:rPr lang="en-US" smtClean="0"/>
            </a:br>
            <a:r>
              <a:rPr kumimoji="0" lang="en-US" sz="40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en-US" sz="40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40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 (40) 48 pt</a:t>
            </a:r>
            <a:endParaRPr lang="en-US" dirty="0" smtClean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1950" y="5708745"/>
            <a:ext cx="7980841" cy="384080"/>
          </a:xfrm>
        </p:spPr>
        <p:txBody>
          <a:bodyPr wrap="square" lIns="143990">
            <a:spAutoFit/>
          </a:bodyPr>
          <a:lstStyle>
            <a:lvl1pPr>
              <a:spcBef>
                <a:spcPts val="0"/>
              </a:spcBef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 smtClean="0"/>
              <a:t>Sub-heading: TeleGrotesk Normal, 24 pt</a:t>
            </a:r>
            <a:endParaRPr lang="en-US" dirty="0"/>
          </a:p>
        </p:txBody>
      </p:sp>
      <p:pic>
        <p:nvPicPr>
          <p:cNvPr id="23" name="Picture 22" hidden="1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1" name="Picture 22" hidden="1"/>
          <p:cNvPicPr>
            <a:picLocks noChangeAspect="1" noChangeArrowheads="1"/>
          </p:cNvPicPr>
          <p:nvPr userDrawn="1"/>
        </p:nvPicPr>
        <p:blipFill>
          <a:blip r:embed="rId10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8" name="Grafik 37" descr="T_Logo_3c_Slogan_p_INT.emf"/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4979"/>
          <a:stretch>
            <a:fillRect/>
          </a:stretch>
        </p:blipFill>
        <p:spPr>
          <a:xfrm>
            <a:off x="539823" y="6501629"/>
            <a:ext cx="1224495" cy="521999"/>
          </a:xfrm>
          <a:prstGeom prst="rect">
            <a:avLst/>
          </a:prstGeom>
        </p:spPr>
      </p:pic>
      <p:pic>
        <p:nvPicPr>
          <p:cNvPr id="39" name="Grafik 38" descr="T_Logo_3c_Slogan_p_INT.emf"/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3101"/>
          <a:stretch>
            <a:fillRect/>
          </a:stretch>
        </p:blipFill>
        <p:spPr>
          <a:xfrm>
            <a:off x="7546684" y="6501629"/>
            <a:ext cx="1989432" cy="521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8068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vertical right">
    <p:bg bwMode="ltGray"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Objekt 6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588" y="1588"/>
            <a:ext cx="1587" cy="1587"/>
          </a:xfrm>
          <a:prstGeom prst="rect">
            <a:avLst/>
          </a:prstGeom>
          <a:noFill/>
        </p:spPr>
      </p:pic>
      <p:sp>
        <p:nvSpPr>
          <p:cNvPr id="6" name="Rechteck 5"/>
          <p:cNvSpPr/>
          <p:nvPr userDrawn="1"/>
        </p:nvSpPr>
        <p:spPr bwMode="white">
          <a:xfrm>
            <a:off x="5040313" y="0"/>
            <a:ext cx="5040313" cy="7561263"/>
          </a:xfrm>
          <a:prstGeom prst="rect">
            <a:avLst/>
          </a:prstGeom>
          <a:solidFill>
            <a:schemeClr val="tx2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800" dirty="0" smtClean="0">
              <a:cs typeface="Arial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black">
          <a:xfrm>
            <a:off x="5400000" y="360000"/>
            <a:ext cx="4320000" cy="2502654"/>
          </a:xfrm>
        </p:spPr>
        <p:txBody>
          <a:bodyPr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Headline Ultra</a:t>
            </a:r>
            <a:br>
              <a:rPr lang="en-US" dirty="0" smtClean="0"/>
            </a:br>
            <a:r>
              <a:rPr lang="en-US" dirty="0" smtClean="0"/>
              <a:t>(60) 75 90 PT</a:t>
            </a:r>
            <a:endParaRPr lang="en-US" dirty="0"/>
          </a:p>
        </p:txBody>
      </p:sp>
      <p:sp>
        <p:nvSpPr>
          <p:cNvPr id="10" name="Textplatzhalter 2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5400313" y="3781425"/>
            <a:ext cx="4320000" cy="10080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mtClean="0">
                <a:solidFill>
                  <a:schemeClr val="bg1"/>
                </a:solidFill>
              </a:defRPr>
            </a:lvl1pPr>
            <a:lvl2pPr>
              <a:defRPr lang="de-DE" smtClean="0">
                <a:solidFill>
                  <a:schemeClr val="bg1"/>
                </a:solidFill>
              </a:defRPr>
            </a:lvl2pPr>
            <a:lvl3pPr>
              <a:defRPr lang="de-DE" smtClean="0">
                <a:solidFill>
                  <a:schemeClr val="bg1"/>
                </a:solidFill>
              </a:defRPr>
            </a:lvl3pPr>
            <a:lvl4pPr>
              <a:defRPr lang="de-DE" smtClean="0">
                <a:solidFill>
                  <a:schemeClr val="bg1"/>
                </a:solidFill>
              </a:defRPr>
            </a:lvl4pPr>
            <a:lvl5pPr>
              <a:defRPr lang="de-DE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Sub-heading: Tele-</a:t>
            </a:r>
            <a:r>
              <a:rPr lang="en-US" dirty="0" err="1" smtClean="0"/>
              <a:t>GroteskFet</a:t>
            </a:r>
            <a:r>
              <a:rPr lang="en-US" dirty="0" smtClean="0"/>
              <a:t> 18 </a:t>
            </a:r>
            <a:r>
              <a:rPr lang="en-US" dirty="0" err="1" smtClean="0"/>
              <a:t>pt</a:t>
            </a:r>
            <a:endParaRPr lang="en-US" dirty="0"/>
          </a:p>
        </p:txBody>
      </p:sp>
      <p:grpSp>
        <p:nvGrpSpPr>
          <p:cNvPr id="8" name="Gruppieren 7"/>
          <p:cNvGrpSpPr/>
          <p:nvPr userDrawn="1"/>
        </p:nvGrpSpPr>
        <p:grpSpPr>
          <a:xfrm>
            <a:off x="5400675" y="6659563"/>
            <a:ext cx="3763963" cy="684212"/>
            <a:chOff x="5400675" y="6659563"/>
            <a:chExt cx="3763963" cy="684212"/>
          </a:xfrm>
          <a:solidFill>
            <a:schemeClr val="bg1"/>
          </a:solidFill>
        </p:grpSpPr>
        <p:sp>
          <p:nvSpPr>
            <p:cNvPr id="9" name="Freeform 5"/>
            <p:cNvSpPr>
              <a:spLocks/>
            </p:cNvSpPr>
            <p:nvPr userDrawn="1"/>
          </p:nvSpPr>
          <p:spPr bwMode="auto">
            <a:xfrm>
              <a:off x="5400675" y="6908800"/>
              <a:ext cx="109538" cy="111125"/>
            </a:xfrm>
            <a:custGeom>
              <a:avLst/>
              <a:gdLst>
                <a:gd name="T0" fmla="*/ 0 w 69"/>
                <a:gd name="T1" fmla="*/ 70 h 70"/>
                <a:gd name="T2" fmla="*/ 0 w 69"/>
                <a:gd name="T3" fmla="*/ 0 h 70"/>
                <a:gd name="T4" fmla="*/ 34 w 69"/>
                <a:gd name="T5" fmla="*/ 0 h 70"/>
                <a:gd name="T6" fmla="*/ 69 w 69"/>
                <a:gd name="T7" fmla="*/ 0 h 70"/>
                <a:gd name="T8" fmla="*/ 69 w 69"/>
                <a:gd name="T9" fmla="*/ 70 h 70"/>
                <a:gd name="T10" fmla="*/ 0 w 69"/>
                <a:gd name="T11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9" h="70">
                  <a:moveTo>
                    <a:pt x="0" y="70"/>
                  </a:moveTo>
                  <a:lnTo>
                    <a:pt x="0" y="0"/>
                  </a:lnTo>
                  <a:lnTo>
                    <a:pt x="34" y="0"/>
                  </a:lnTo>
                  <a:lnTo>
                    <a:pt x="69" y="0"/>
                  </a:lnTo>
                  <a:lnTo>
                    <a:pt x="69" y="70"/>
                  </a:lnTo>
                  <a:lnTo>
                    <a:pt x="0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" name="Freeform 6"/>
            <p:cNvSpPr>
              <a:spLocks/>
            </p:cNvSpPr>
            <p:nvPr userDrawn="1"/>
          </p:nvSpPr>
          <p:spPr bwMode="auto">
            <a:xfrm>
              <a:off x="5735638" y="6908800"/>
              <a:ext cx="109538" cy="111125"/>
            </a:xfrm>
            <a:custGeom>
              <a:avLst/>
              <a:gdLst>
                <a:gd name="T0" fmla="*/ 0 w 69"/>
                <a:gd name="T1" fmla="*/ 70 h 70"/>
                <a:gd name="T2" fmla="*/ 0 w 69"/>
                <a:gd name="T3" fmla="*/ 0 h 70"/>
                <a:gd name="T4" fmla="*/ 38 w 69"/>
                <a:gd name="T5" fmla="*/ 0 h 70"/>
                <a:gd name="T6" fmla="*/ 69 w 69"/>
                <a:gd name="T7" fmla="*/ 0 h 70"/>
                <a:gd name="T8" fmla="*/ 69 w 69"/>
                <a:gd name="T9" fmla="*/ 70 h 70"/>
                <a:gd name="T10" fmla="*/ 0 w 69"/>
                <a:gd name="T11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9" h="70">
                  <a:moveTo>
                    <a:pt x="0" y="70"/>
                  </a:moveTo>
                  <a:lnTo>
                    <a:pt x="0" y="0"/>
                  </a:lnTo>
                  <a:lnTo>
                    <a:pt x="38" y="0"/>
                  </a:lnTo>
                  <a:lnTo>
                    <a:pt x="69" y="0"/>
                  </a:lnTo>
                  <a:lnTo>
                    <a:pt x="69" y="70"/>
                  </a:lnTo>
                  <a:lnTo>
                    <a:pt x="0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" name="Freeform 7"/>
            <p:cNvSpPr>
              <a:spLocks/>
            </p:cNvSpPr>
            <p:nvPr userDrawn="1"/>
          </p:nvSpPr>
          <p:spPr bwMode="auto">
            <a:xfrm>
              <a:off x="6064250" y="6908800"/>
              <a:ext cx="111125" cy="111125"/>
            </a:xfrm>
            <a:custGeom>
              <a:avLst/>
              <a:gdLst>
                <a:gd name="T0" fmla="*/ 0 w 70"/>
                <a:gd name="T1" fmla="*/ 70 h 70"/>
                <a:gd name="T2" fmla="*/ 0 w 70"/>
                <a:gd name="T3" fmla="*/ 0 h 70"/>
                <a:gd name="T4" fmla="*/ 35 w 70"/>
                <a:gd name="T5" fmla="*/ 0 h 70"/>
                <a:gd name="T6" fmla="*/ 70 w 70"/>
                <a:gd name="T7" fmla="*/ 0 h 70"/>
                <a:gd name="T8" fmla="*/ 70 w 70"/>
                <a:gd name="T9" fmla="*/ 70 h 70"/>
                <a:gd name="T10" fmla="*/ 0 w 70"/>
                <a:gd name="T11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0" h="70">
                  <a:moveTo>
                    <a:pt x="0" y="70"/>
                  </a:moveTo>
                  <a:lnTo>
                    <a:pt x="0" y="0"/>
                  </a:lnTo>
                  <a:lnTo>
                    <a:pt x="35" y="0"/>
                  </a:lnTo>
                  <a:lnTo>
                    <a:pt x="70" y="0"/>
                  </a:lnTo>
                  <a:lnTo>
                    <a:pt x="70" y="70"/>
                  </a:lnTo>
                  <a:lnTo>
                    <a:pt x="0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6392863" y="6908800"/>
              <a:ext cx="111125" cy="111125"/>
            </a:xfrm>
            <a:custGeom>
              <a:avLst/>
              <a:gdLst>
                <a:gd name="T0" fmla="*/ 0 w 70"/>
                <a:gd name="T1" fmla="*/ 70 h 70"/>
                <a:gd name="T2" fmla="*/ 0 w 70"/>
                <a:gd name="T3" fmla="*/ 0 h 70"/>
                <a:gd name="T4" fmla="*/ 32 w 70"/>
                <a:gd name="T5" fmla="*/ 0 h 70"/>
                <a:gd name="T6" fmla="*/ 70 w 70"/>
                <a:gd name="T7" fmla="*/ 0 h 70"/>
                <a:gd name="T8" fmla="*/ 70 w 70"/>
                <a:gd name="T9" fmla="*/ 70 h 70"/>
                <a:gd name="T10" fmla="*/ 0 w 70"/>
                <a:gd name="T11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0" h="70">
                  <a:moveTo>
                    <a:pt x="0" y="70"/>
                  </a:moveTo>
                  <a:lnTo>
                    <a:pt x="0" y="0"/>
                  </a:lnTo>
                  <a:lnTo>
                    <a:pt x="32" y="0"/>
                  </a:lnTo>
                  <a:lnTo>
                    <a:pt x="70" y="0"/>
                  </a:lnTo>
                  <a:lnTo>
                    <a:pt x="70" y="70"/>
                  </a:lnTo>
                  <a:lnTo>
                    <a:pt x="0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" name="Freeform 9"/>
            <p:cNvSpPr>
              <a:spLocks/>
            </p:cNvSpPr>
            <p:nvPr userDrawn="1"/>
          </p:nvSpPr>
          <p:spPr bwMode="auto">
            <a:xfrm>
              <a:off x="5400675" y="6659563"/>
              <a:ext cx="444500" cy="542925"/>
            </a:xfrm>
            <a:custGeom>
              <a:avLst/>
              <a:gdLst>
                <a:gd name="T0" fmla="*/ 322 w 325"/>
                <a:gd name="T1" fmla="*/ 0 h 397"/>
                <a:gd name="T2" fmla="*/ 4 w 325"/>
                <a:gd name="T3" fmla="*/ 0 h 397"/>
                <a:gd name="T4" fmla="*/ 0 w 325"/>
                <a:gd name="T5" fmla="*/ 140 h 397"/>
                <a:gd name="T6" fmla="*/ 21 w 325"/>
                <a:gd name="T7" fmla="*/ 143 h 397"/>
                <a:gd name="T8" fmla="*/ 54 w 325"/>
                <a:gd name="T9" fmla="*/ 52 h 397"/>
                <a:gd name="T10" fmla="*/ 131 w 325"/>
                <a:gd name="T11" fmla="*/ 19 h 397"/>
                <a:gd name="T12" fmla="*/ 131 w 325"/>
                <a:gd name="T13" fmla="*/ 312 h 397"/>
                <a:gd name="T14" fmla="*/ 120 w 325"/>
                <a:gd name="T15" fmla="*/ 362 h 397"/>
                <a:gd name="T16" fmla="*/ 88 w 325"/>
                <a:gd name="T17" fmla="*/ 374 h 397"/>
                <a:gd name="T18" fmla="*/ 65 w 325"/>
                <a:gd name="T19" fmla="*/ 374 h 397"/>
                <a:gd name="T20" fmla="*/ 65 w 325"/>
                <a:gd name="T21" fmla="*/ 397 h 397"/>
                <a:gd name="T22" fmla="*/ 261 w 325"/>
                <a:gd name="T23" fmla="*/ 397 h 397"/>
                <a:gd name="T24" fmla="*/ 261 w 325"/>
                <a:gd name="T25" fmla="*/ 374 h 397"/>
                <a:gd name="T26" fmla="*/ 238 w 325"/>
                <a:gd name="T27" fmla="*/ 374 h 397"/>
                <a:gd name="T28" fmla="*/ 206 w 325"/>
                <a:gd name="T29" fmla="*/ 362 h 397"/>
                <a:gd name="T30" fmla="*/ 194 w 325"/>
                <a:gd name="T31" fmla="*/ 312 h 397"/>
                <a:gd name="T32" fmla="*/ 194 w 325"/>
                <a:gd name="T33" fmla="*/ 19 h 397"/>
                <a:gd name="T34" fmla="*/ 272 w 325"/>
                <a:gd name="T35" fmla="*/ 52 h 397"/>
                <a:gd name="T36" fmla="*/ 304 w 325"/>
                <a:gd name="T37" fmla="*/ 143 h 397"/>
                <a:gd name="T38" fmla="*/ 325 w 325"/>
                <a:gd name="T39" fmla="*/ 140 h 397"/>
                <a:gd name="T40" fmla="*/ 322 w 325"/>
                <a:gd name="T41" fmla="*/ 0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25" h="397">
                  <a:moveTo>
                    <a:pt x="322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21" y="143"/>
                    <a:pt x="21" y="143"/>
                    <a:pt x="21" y="143"/>
                  </a:cubicBezTo>
                  <a:cubicBezTo>
                    <a:pt x="25" y="102"/>
                    <a:pt x="36" y="72"/>
                    <a:pt x="54" y="52"/>
                  </a:cubicBezTo>
                  <a:cubicBezTo>
                    <a:pt x="72" y="31"/>
                    <a:pt x="98" y="20"/>
                    <a:pt x="131" y="19"/>
                  </a:cubicBezTo>
                  <a:cubicBezTo>
                    <a:pt x="131" y="312"/>
                    <a:pt x="131" y="312"/>
                    <a:pt x="131" y="312"/>
                  </a:cubicBezTo>
                  <a:cubicBezTo>
                    <a:pt x="131" y="337"/>
                    <a:pt x="127" y="354"/>
                    <a:pt x="120" y="362"/>
                  </a:cubicBezTo>
                  <a:cubicBezTo>
                    <a:pt x="114" y="368"/>
                    <a:pt x="103" y="372"/>
                    <a:pt x="88" y="374"/>
                  </a:cubicBezTo>
                  <a:cubicBezTo>
                    <a:pt x="83" y="374"/>
                    <a:pt x="76" y="374"/>
                    <a:pt x="65" y="374"/>
                  </a:cubicBezTo>
                  <a:cubicBezTo>
                    <a:pt x="65" y="397"/>
                    <a:pt x="65" y="397"/>
                    <a:pt x="65" y="397"/>
                  </a:cubicBezTo>
                  <a:cubicBezTo>
                    <a:pt x="261" y="397"/>
                    <a:pt x="261" y="397"/>
                    <a:pt x="261" y="397"/>
                  </a:cubicBezTo>
                  <a:cubicBezTo>
                    <a:pt x="261" y="374"/>
                    <a:pt x="261" y="374"/>
                    <a:pt x="261" y="374"/>
                  </a:cubicBezTo>
                  <a:cubicBezTo>
                    <a:pt x="250" y="374"/>
                    <a:pt x="242" y="374"/>
                    <a:pt x="238" y="374"/>
                  </a:cubicBezTo>
                  <a:cubicBezTo>
                    <a:pt x="223" y="372"/>
                    <a:pt x="212" y="368"/>
                    <a:pt x="206" y="362"/>
                  </a:cubicBezTo>
                  <a:cubicBezTo>
                    <a:pt x="198" y="354"/>
                    <a:pt x="194" y="337"/>
                    <a:pt x="194" y="312"/>
                  </a:cubicBezTo>
                  <a:cubicBezTo>
                    <a:pt x="194" y="19"/>
                    <a:pt x="194" y="19"/>
                    <a:pt x="194" y="19"/>
                  </a:cubicBezTo>
                  <a:cubicBezTo>
                    <a:pt x="228" y="20"/>
                    <a:pt x="253" y="31"/>
                    <a:pt x="272" y="52"/>
                  </a:cubicBezTo>
                  <a:cubicBezTo>
                    <a:pt x="290" y="72"/>
                    <a:pt x="301" y="102"/>
                    <a:pt x="304" y="143"/>
                  </a:cubicBezTo>
                  <a:cubicBezTo>
                    <a:pt x="325" y="140"/>
                    <a:pt x="325" y="140"/>
                    <a:pt x="325" y="140"/>
                  </a:cubicBezTo>
                  <a:lnTo>
                    <a:pt x="32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5" name="Freeform 10"/>
            <p:cNvSpPr>
              <a:spLocks/>
            </p:cNvSpPr>
            <p:nvPr userDrawn="1"/>
          </p:nvSpPr>
          <p:spPr bwMode="auto">
            <a:xfrm>
              <a:off x="6599238" y="6667500"/>
              <a:ext cx="327025" cy="547687"/>
            </a:xfrm>
            <a:custGeom>
              <a:avLst/>
              <a:gdLst>
                <a:gd name="T0" fmla="*/ 202 w 239"/>
                <a:gd name="T1" fmla="*/ 134 h 400"/>
                <a:gd name="T2" fmla="*/ 175 w 239"/>
                <a:gd name="T3" fmla="*/ 59 h 400"/>
                <a:gd name="T4" fmla="*/ 108 w 239"/>
                <a:gd name="T5" fmla="*/ 20 h 400"/>
                <a:gd name="T6" fmla="*/ 66 w 239"/>
                <a:gd name="T7" fmla="*/ 35 h 400"/>
                <a:gd name="T8" fmla="*/ 45 w 239"/>
                <a:gd name="T9" fmla="*/ 84 h 400"/>
                <a:gd name="T10" fmla="*/ 68 w 239"/>
                <a:gd name="T11" fmla="*/ 134 h 400"/>
                <a:gd name="T12" fmla="*/ 120 w 239"/>
                <a:gd name="T13" fmla="*/ 159 h 400"/>
                <a:gd name="T14" fmla="*/ 198 w 239"/>
                <a:gd name="T15" fmla="*/ 193 h 400"/>
                <a:gd name="T16" fmla="*/ 239 w 239"/>
                <a:gd name="T17" fmla="*/ 279 h 400"/>
                <a:gd name="T18" fmla="*/ 205 w 239"/>
                <a:gd name="T19" fmla="*/ 367 h 400"/>
                <a:gd name="T20" fmla="*/ 127 w 239"/>
                <a:gd name="T21" fmla="*/ 400 h 400"/>
                <a:gd name="T22" fmla="*/ 82 w 239"/>
                <a:gd name="T23" fmla="*/ 391 h 400"/>
                <a:gd name="T24" fmla="*/ 52 w 239"/>
                <a:gd name="T25" fmla="*/ 374 h 400"/>
                <a:gd name="T26" fmla="*/ 40 w 239"/>
                <a:gd name="T27" fmla="*/ 370 h 400"/>
                <a:gd name="T28" fmla="*/ 26 w 239"/>
                <a:gd name="T29" fmla="*/ 378 h 400"/>
                <a:gd name="T30" fmla="*/ 18 w 239"/>
                <a:gd name="T31" fmla="*/ 391 h 400"/>
                <a:gd name="T32" fmla="*/ 0 w 239"/>
                <a:gd name="T33" fmla="*/ 391 h 400"/>
                <a:gd name="T34" fmla="*/ 0 w 239"/>
                <a:gd name="T35" fmla="*/ 252 h 400"/>
                <a:gd name="T36" fmla="*/ 19 w 239"/>
                <a:gd name="T37" fmla="*/ 252 h 400"/>
                <a:gd name="T38" fmla="*/ 46 w 239"/>
                <a:gd name="T39" fmla="*/ 332 h 400"/>
                <a:gd name="T40" fmla="*/ 124 w 239"/>
                <a:gd name="T41" fmla="*/ 379 h 400"/>
                <a:gd name="T42" fmla="*/ 171 w 239"/>
                <a:gd name="T43" fmla="*/ 363 h 400"/>
                <a:gd name="T44" fmla="*/ 195 w 239"/>
                <a:gd name="T45" fmla="*/ 304 h 400"/>
                <a:gd name="T46" fmla="*/ 158 w 239"/>
                <a:gd name="T47" fmla="*/ 239 h 400"/>
                <a:gd name="T48" fmla="*/ 94 w 239"/>
                <a:gd name="T49" fmla="*/ 214 h 400"/>
                <a:gd name="T50" fmla="*/ 35 w 239"/>
                <a:gd name="T51" fmla="*/ 183 h 400"/>
                <a:gd name="T52" fmla="*/ 3 w 239"/>
                <a:gd name="T53" fmla="*/ 107 h 400"/>
                <a:gd name="T54" fmla="*/ 38 w 239"/>
                <a:gd name="T55" fmla="*/ 25 h 400"/>
                <a:gd name="T56" fmla="*/ 105 w 239"/>
                <a:gd name="T57" fmla="*/ 0 h 400"/>
                <a:gd name="T58" fmla="*/ 148 w 239"/>
                <a:gd name="T59" fmla="*/ 8 h 400"/>
                <a:gd name="T60" fmla="*/ 175 w 239"/>
                <a:gd name="T61" fmla="*/ 23 h 400"/>
                <a:gd name="T62" fmla="*/ 185 w 239"/>
                <a:gd name="T63" fmla="*/ 26 h 400"/>
                <a:gd name="T64" fmla="*/ 203 w 239"/>
                <a:gd name="T65" fmla="*/ 8 h 400"/>
                <a:gd name="T66" fmla="*/ 219 w 239"/>
                <a:gd name="T67" fmla="*/ 8 h 400"/>
                <a:gd name="T68" fmla="*/ 219 w 239"/>
                <a:gd name="T69" fmla="*/ 134 h 400"/>
                <a:gd name="T70" fmla="*/ 202 w 239"/>
                <a:gd name="T71" fmla="*/ 134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39" h="400">
                  <a:moveTo>
                    <a:pt x="202" y="134"/>
                  </a:moveTo>
                  <a:cubicBezTo>
                    <a:pt x="195" y="100"/>
                    <a:pt x="186" y="75"/>
                    <a:pt x="175" y="59"/>
                  </a:cubicBezTo>
                  <a:cubicBezTo>
                    <a:pt x="158" y="33"/>
                    <a:pt x="135" y="20"/>
                    <a:pt x="108" y="20"/>
                  </a:cubicBezTo>
                  <a:cubicBezTo>
                    <a:pt x="91" y="20"/>
                    <a:pt x="77" y="25"/>
                    <a:pt x="66" y="35"/>
                  </a:cubicBezTo>
                  <a:cubicBezTo>
                    <a:pt x="52" y="47"/>
                    <a:pt x="45" y="63"/>
                    <a:pt x="45" y="84"/>
                  </a:cubicBezTo>
                  <a:cubicBezTo>
                    <a:pt x="45" y="105"/>
                    <a:pt x="53" y="122"/>
                    <a:pt x="68" y="134"/>
                  </a:cubicBezTo>
                  <a:cubicBezTo>
                    <a:pt x="77" y="142"/>
                    <a:pt x="94" y="150"/>
                    <a:pt x="120" y="159"/>
                  </a:cubicBezTo>
                  <a:cubicBezTo>
                    <a:pt x="159" y="172"/>
                    <a:pt x="184" y="184"/>
                    <a:pt x="198" y="193"/>
                  </a:cubicBezTo>
                  <a:cubicBezTo>
                    <a:pt x="225" y="214"/>
                    <a:pt x="239" y="243"/>
                    <a:pt x="239" y="279"/>
                  </a:cubicBezTo>
                  <a:cubicBezTo>
                    <a:pt x="239" y="314"/>
                    <a:pt x="228" y="344"/>
                    <a:pt x="205" y="367"/>
                  </a:cubicBezTo>
                  <a:cubicBezTo>
                    <a:pt x="184" y="389"/>
                    <a:pt x="158" y="400"/>
                    <a:pt x="127" y="400"/>
                  </a:cubicBezTo>
                  <a:cubicBezTo>
                    <a:pt x="111" y="400"/>
                    <a:pt x="96" y="397"/>
                    <a:pt x="82" y="391"/>
                  </a:cubicBezTo>
                  <a:cubicBezTo>
                    <a:pt x="76" y="388"/>
                    <a:pt x="66" y="383"/>
                    <a:pt x="52" y="374"/>
                  </a:cubicBezTo>
                  <a:cubicBezTo>
                    <a:pt x="48" y="372"/>
                    <a:pt x="44" y="370"/>
                    <a:pt x="40" y="370"/>
                  </a:cubicBezTo>
                  <a:cubicBezTo>
                    <a:pt x="34" y="370"/>
                    <a:pt x="30" y="373"/>
                    <a:pt x="26" y="378"/>
                  </a:cubicBezTo>
                  <a:cubicBezTo>
                    <a:pt x="24" y="381"/>
                    <a:pt x="21" y="385"/>
                    <a:pt x="18" y="391"/>
                  </a:cubicBezTo>
                  <a:cubicBezTo>
                    <a:pt x="0" y="391"/>
                    <a:pt x="0" y="391"/>
                    <a:pt x="0" y="391"/>
                  </a:cubicBezTo>
                  <a:cubicBezTo>
                    <a:pt x="0" y="252"/>
                    <a:pt x="0" y="252"/>
                    <a:pt x="0" y="252"/>
                  </a:cubicBezTo>
                  <a:cubicBezTo>
                    <a:pt x="19" y="252"/>
                    <a:pt x="19" y="252"/>
                    <a:pt x="19" y="252"/>
                  </a:cubicBezTo>
                  <a:cubicBezTo>
                    <a:pt x="25" y="287"/>
                    <a:pt x="35" y="314"/>
                    <a:pt x="46" y="332"/>
                  </a:cubicBezTo>
                  <a:cubicBezTo>
                    <a:pt x="66" y="364"/>
                    <a:pt x="92" y="379"/>
                    <a:pt x="124" y="379"/>
                  </a:cubicBezTo>
                  <a:cubicBezTo>
                    <a:pt x="143" y="379"/>
                    <a:pt x="159" y="374"/>
                    <a:pt x="171" y="363"/>
                  </a:cubicBezTo>
                  <a:cubicBezTo>
                    <a:pt x="187" y="348"/>
                    <a:pt x="195" y="329"/>
                    <a:pt x="195" y="304"/>
                  </a:cubicBezTo>
                  <a:cubicBezTo>
                    <a:pt x="195" y="275"/>
                    <a:pt x="183" y="253"/>
                    <a:pt x="158" y="239"/>
                  </a:cubicBezTo>
                  <a:cubicBezTo>
                    <a:pt x="150" y="234"/>
                    <a:pt x="129" y="226"/>
                    <a:pt x="94" y="214"/>
                  </a:cubicBezTo>
                  <a:cubicBezTo>
                    <a:pt x="69" y="206"/>
                    <a:pt x="49" y="195"/>
                    <a:pt x="35" y="183"/>
                  </a:cubicBezTo>
                  <a:cubicBezTo>
                    <a:pt x="14" y="164"/>
                    <a:pt x="3" y="139"/>
                    <a:pt x="3" y="107"/>
                  </a:cubicBezTo>
                  <a:cubicBezTo>
                    <a:pt x="3" y="72"/>
                    <a:pt x="15" y="45"/>
                    <a:pt x="38" y="25"/>
                  </a:cubicBezTo>
                  <a:cubicBezTo>
                    <a:pt x="56" y="8"/>
                    <a:pt x="79" y="0"/>
                    <a:pt x="105" y="0"/>
                  </a:cubicBezTo>
                  <a:cubicBezTo>
                    <a:pt x="119" y="0"/>
                    <a:pt x="134" y="2"/>
                    <a:pt x="148" y="8"/>
                  </a:cubicBezTo>
                  <a:cubicBezTo>
                    <a:pt x="153" y="10"/>
                    <a:pt x="162" y="15"/>
                    <a:pt x="175" y="23"/>
                  </a:cubicBezTo>
                  <a:cubicBezTo>
                    <a:pt x="179" y="25"/>
                    <a:pt x="182" y="26"/>
                    <a:pt x="185" y="26"/>
                  </a:cubicBezTo>
                  <a:cubicBezTo>
                    <a:pt x="191" y="26"/>
                    <a:pt x="197" y="20"/>
                    <a:pt x="203" y="8"/>
                  </a:cubicBezTo>
                  <a:cubicBezTo>
                    <a:pt x="219" y="8"/>
                    <a:pt x="219" y="8"/>
                    <a:pt x="219" y="8"/>
                  </a:cubicBezTo>
                  <a:cubicBezTo>
                    <a:pt x="219" y="134"/>
                    <a:pt x="219" y="134"/>
                    <a:pt x="219" y="134"/>
                  </a:cubicBezTo>
                  <a:lnTo>
                    <a:pt x="202" y="1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6946900" y="6842125"/>
              <a:ext cx="352425" cy="501650"/>
            </a:xfrm>
            <a:custGeom>
              <a:avLst/>
              <a:gdLst>
                <a:gd name="T0" fmla="*/ 0 w 258"/>
                <a:gd name="T1" fmla="*/ 0 h 367"/>
                <a:gd name="T2" fmla="*/ 119 w 258"/>
                <a:gd name="T3" fmla="*/ 0 h 367"/>
                <a:gd name="T4" fmla="*/ 119 w 258"/>
                <a:gd name="T5" fmla="*/ 18 h 367"/>
                <a:gd name="T6" fmla="*/ 109 w 258"/>
                <a:gd name="T7" fmla="*/ 18 h 367"/>
                <a:gd name="T8" fmla="*/ 86 w 258"/>
                <a:gd name="T9" fmla="*/ 30 h 367"/>
                <a:gd name="T10" fmla="*/ 90 w 258"/>
                <a:gd name="T11" fmla="*/ 46 h 367"/>
                <a:gd name="T12" fmla="*/ 147 w 258"/>
                <a:gd name="T13" fmla="*/ 196 h 367"/>
                <a:gd name="T14" fmla="*/ 197 w 258"/>
                <a:gd name="T15" fmla="*/ 57 h 367"/>
                <a:gd name="T16" fmla="*/ 202 w 258"/>
                <a:gd name="T17" fmla="*/ 34 h 367"/>
                <a:gd name="T18" fmla="*/ 177 w 258"/>
                <a:gd name="T19" fmla="*/ 18 h 367"/>
                <a:gd name="T20" fmla="*/ 164 w 258"/>
                <a:gd name="T21" fmla="*/ 18 h 367"/>
                <a:gd name="T22" fmla="*/ 164 w 258"/>
                <a:gd name="T23" fmla="*/ 0 h 367"/>
                <a:gd name="T24" fmla="*/ 258 w 258"/>
                <a:gd name="T25" fmla="*/ 0 h 367"/>
                <a:gd name="T26" fmla="*/ 258 w 258"/>
                <a:gd name="T27" fmla="*/ 18 h 367"/>
                <a:gd name="T28" fmla="*/ 252 w 258"/>
                <a:gd name="T29" fmla="*/ 18 h 367"/>
                <a:gd name="T30" fmla="*/ 235 w 258"/>
                <a:gd name="T31" fmla="*/ 26 h 367"/>
                <a:gd name="T32" fmla="*/ 226 w 258"/>
                <a:gd name="T33" fmla="*/ 44 h 367"/>
                <a:gd name="T34" fmla="*/ 131 w 258"/>
                <a:gd name="T35" fmla="*/ 299 h 367"/>
                <a:gd name="T36" fmla="*/ 101 w 258"/>
                <a:gd name="T37" fmla="*/ 351 h 367"/>
                <a:gd name="T38" fmla="*/ 60 w 258"/>
                <a:gd name="T39" fmla="*/ 367 h 367"/>
                <a:gd name="T40" fmla="*/ 25 w 258"/>
                <a:gd name="T41" fmla="*/ 355 h 367"/>
                <a:gd name="T42" fmla="*/ 7 w 258"/>
                <a:gd name="T43" fmla="*/ 318 h 367"/>
                <a:gd name="T44" fmla="*/ 15 w 258"/>
                <a:gd name="T45" fmla="*/ 295 h 367"/>
                <a:gd name="T46" fmla="*/ 38 w 258"/>
                <a:gd name="T47" fmla="*/ 285 h 367"/>
                <a:gd name="T48" fmla="*/ 62 w 258"/>
                <a:gd name="T49" fmla="*/ 296 h 367"/>
                <a:gd name="T50" fmla="*/ 67 w 258"/>
                <a:gd name="T51" fmla="*/ 313 h 367"/>
                <a:gd name="T52" fmla="*/ 58 w 258"/>
                <a:gd name="T53" fmla="*/ 334 h 367"/>
                <a:gd name="T54" fmla="*/ 43 w 258"/>
                <a:gd name="T55" fmla="*/ 341 h 367"/>
                <a:gd name="T56" fmla="*/ 61 w 258"/>
                <a:gd name="T57" fmla="*/ 348 h 367"/>
                <a:gd name="T58" fmla="*/ 90 w 258"/>
                <a:gd name="T59" fmla="*/ 335 h 367"/>
                <a:gd name="T60" fmla="*/ 115 w 258"/>
                <a:gd name="T61" fmla="*/ 284 h 367"/>
                <a:gd name="T62" fmla="*/ 121 w 258"/>
                <a:gd name="T63" fmla="*/ 266 h 367"/>
                <a:gd name="T64" fmla="*/ 42 w 258"/>
                <a:gd name="T65" fmla="*/ 55 h 367"/>
                <a:gd name="T66" fmla="*/ 27 w 258"/>
                <a:gd name="T67" fmla="*/ 24 h 367"/>
                <a:gd name="T68" fmla="*/ 4 w 258"/>
                <a:gd name="T69" fmla="*/ 18 h 367"/>
                <a:gd name="T70" fmla="*/ 0 w 258"/>
                <a:gd name="T71" fmla="*/ 18 h 367"/>
                <a:gd name="T72" fmla="*/ 0 w 258"/>
                <a:gd name="T73" fmla="*/ 0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58" h="367">
                  <a:moveTo>
                    <a:pt x="0" y="0"/>
                  </a:moveTo>
                  <a:cubicBezTo>
                    <a:pt x="119" y="0"/>
                    <a:pt x="119" y="0"/>
                    <a:pt x="119" y="0"/>
                  </a:cubicBezTo>
                  <a:cubicBezTo>
                    <a:pt x="119" y="18"/>
                    <a:pt x="119" y="18"/>
                    <a:pt x="119" y="18"/>
                  </a:cubicBezTo>
                  <a:cubicBezTo>
                    <a:pt x="109" y="18"/>
                    <a:pt x="109" y="18"/>
                    <a:pt x="109" y="18"/>
                  </a:cubicBezTo>
                  <a:cubicBezTo>
                    <a:pt x="93" y="18"/>
                    <a:pt x="86" y="22"/>
                    <a:pt x="86" y="30"/>
                  </a:cubicBezTo>
                  <a:cubicBezTo>
                    <a:pt x="86" y="34"/>
                    <a:pt x="87" y="39"/>
                    <a:pt x="90" y="46"/>
                  </a:cubicBezTo>
                  <a:cubicBezTo>
                    <a:pt x="147" y="196"/>
                    <a:pt x="147" y="196"/>
                    <a:pt x="147" y="196"/>
                  </a:cubicBezTo>
                  <a:cubicBezTo>
                    <a:pt x="197" y="57"/>
                    <a:pt x="197" y="57"/>
                    <a:pt x="197" y="57"/>
                  </a:cubicBezTo>
                  <a:cubicBezTo>
                    <a:pt x="200" y="47"/>
                    <a:pt x="202" y="39"/>
                    <a:pt x="202" y="34"/>
                  </a:cubicBezTo>
                  <a:cubicBezTo>
                    <a:pt x="202" y="23"/>
                    <a:pt x="194" y="18"/>
                    <a:pt x="177" y="18"/>
                  </a:cubicBezTo>
                  <a:cubicBezTo>
                    <a:pt x="164" y="18"/>
                    <a:pt x="164" y="18"/>
                    <a:pt x="164" y="18"/>
                  </a:cubicBezTo>
                  <a:cubicBezTo>
                    <a:pt x="164" y="0"/>
                    <a:pt x="164" y="0"/>
                    <a:pt x="164" y="0"/>
                  </a:cubicBezTo>
                  <a:cubicBezTo>
                    <a:pt x="258" y="0"/>
                    <a:pt x="258" y="0"/>
                    <a:pt x="258" y="0"/>
                  </a:cubicBezTo>
                  <a:cubicBezTo>
                    <a:pt x="258" y="18"/>
                    <a:pt x="258" y="18"/>
                    <a:pt x="258" y="18"/>
                  </a:cubicBezTo>
                  <a:cubicBezTo>
                    <a:pt x="252" y="18"/>
                    <a:pt x="252" y="18"/>
                    <a:pt x="252" y="18"/>
                  </a:cubicBezTo>
                  <a:cubicBezTo>
                    <a:pt x="245" y="18"/>
                    <a:pt x="240" y="20"/>
                    <a:pt x="235" y="26"/>
                  </a:cubicBezTo>
                  <a:cubicBezTo>
                    <a:pt x="232" y="29"/>
                    <a:pt x="229" y="36"/>
                    <a:pt x="226" y="44"/>
                  </a:cubicBezTo>
                  <a:cubicBezTo>
                    <a:pt x="131" y="299"/>
                    <a:pt x="131" y="299"/>
                    <a:pt x="131" y="299"/>
                  </a:cubicBezTo>
                  <a:cubicBezTo>
                    <a:pt x="122" y="323"/>
                    <a:pt x="112" y="340"/>
                    <a:pt x="101" y="351"/>
                  </a:cubicBezTo>
                  <a:cubicBezTo>
                    <a:pt x="90" y="362"/>
                    <a:pt x="76" y="367"/>
                    <a:pt x="60" y="367"/>
                  </a:cubicBezTo>
                  <a:cubicBezTo>
                    <a:pt x="46" y="367"/>
                    <a:pt x="34" y="363"/>
                    <a:pt x="25" y="355"/>
                  </a:cubicBezTo>
                  <a:cubicBezTo>
                    <a:pt x="13" y="345"/>
                    <a:pt x="7" y="333"/>
                    <a:pt x="7" y="318"/>
                  </a:cubicBezTo>
                  <a:cubicBezTo>
                    <a:pt x="7" y="309"/>
                    <a:pt x="10" y="301"/>
                    <a:pt x="15" y="295"/>
                  </a:cubicBezTo>
                  <a:cubicBezTo>
                    <a:pt x="21" y="288"/>
                    <a:pt x="28" y="285"/>
                    <a:pt x="38" y="285"/>
                  </a:cubicBezTo>
                  <a:cubicBezTo>
                    <a:pt x="49" y="285"/>
                    <a:pt x="57" y="289"/>
                    <a:pt x="62" y="296"/>
                  </a:cubicBezTo>
                  <a:cubicBezTo>
                    <a:pt x="66" y="301"/>
                    <a:pt x="67" y="306"/>
                    <a:pt x="67" y="313"/>
                  </a:cubicBezTo>
                  <a:cubicBezTo>
                    <a:pt x="67" y="321"/>
                    <a:pt x="64" y="328"/>
                    <a:pt x="58" y="334"/>
                  </a:cubicBezTo>
                  <a:cubicBezTo>
                    <a:pt x="54" y="337"/>
                    <a:pt x="49" y="340"/>
                    <a:pt x="43" y="341"/>
                  </a:cubicBezTo>
                  <a:cubicBezTo>
                    <a:pt x="48" y="345"/>
                    <a:pt x="53" y="348"/>
                    <a:pt x="61" y="348"/>
                  </a:cubicBezTo>
                  <a:cubicBezTo>
                    <a:pt x="72" y="348"/>
                    <a:pt x="82" y="343"/>
                    <a:pt x="90" y="335"/>
                  </a:cubicBezTo>
                  <a:cubicBezTo>
                    <a:pt x="97" y="327"/>
                    <a:pt x="106" y="310"/>
                    <a:pt x="115" y="284"/>
                  </a:cubicBezTo>
                  <a:cubicBezTo>
                    <a:pt x="121" y="266"/>
                    <a:pt x="121" y="266"/>
                    <a:pt x="121" y="266"/>
                  </a:cubicBezTo>
                  <a:cubicBezTo>
                    <a:pt x="42" y="55"/>
                    <a:pt x="42" y="55"/>
                    <a:pt x="42" y="55"/>
                  </a:cubicBezTo>
                  <a:cubicBezTo>
                    <a:pt x="36" y="38"/>
                    <a:pt x="31" y="28"/>
                    <a:pt x="27" y="24"/>
                  </a:cubicBezTo>
                  <a:cubicBezTo>
                    <a:pt x="21" y="20"/>
                    <a:pt x="14" y="18"/>
                    <a:pt x="4" y="18"/>
                  </a:cubicBezTo>
                  <a:cubicBezTo>
                    <a:pt x="0" y="18"/>
                    <a:pt x="0" y="18"/>
                    <a:pt x="0" y="18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" name="Freeform 12"/>
            <p:cNvSpPr>
              <a:spLocks/>
            </p:cNvSpPr>
            <p:nvPr userDrawn="1"/>
          </p:nvSpPr>
          <p:spPr bwMode="auto">
            <a:xfrm>
              <a:off x="7305675" y="6834188"/>
              <a:ext cx="250825" cy="376237"/>
            </a:xfrm>
            <a:custGeom>
              <a:avLst/>
              <a:gdLst>
                <a:gd name="T0" fmla="*/ 168 w 184"/>
                <a:gd name="T1" fmla="*/ 6 h 275"/>
                <a:gd name="T2" fmla="*/ 168 w 184"/>
                <a:gd name="T3" fmla="*/ 89 h 275"/>
                <a:gd name="T4" fmla="*/ 151 w 184"/>
                <a:gd name="T5" fmla="*/ 89 h 275"/>
                <a:gd name="T6" fmla="*/ 84 w 184"/>
                <a:gd name="T7" fmla="*/ 17 h 275"/>
                <a:gd name="T8" fmla="*/ 53 w 184"/>
                <a:gd name="T9" fmla="*/ 28 h 275"/>
                <a:gd name="T10" fmla="*/ 41 w 184"/>
                <a:gd name="T11" fmla="*/ 57 h 275"/>
                <a:gd name="T12" fmla="*/ 58 w 184"/>
                <a:gd name="T13" fmla="*/ 88 h 275"/>
                <a:gd name="T14" fmla="*/ 89 w 184"/>
                <a:gd name="T15" fmla="*/ 101 h 275"/>
                <a:gd name="T16" fmla="*/ 152 w 184"/>
                <a:gd name="T17" fmla="*/ 128 h 275"/>
                <a:gd name="T18" fmla="*/ 184 w 184"/>
                <a:gd name="T19" fmla="*/ 191 h 275"/>
                <a:gd name="T20" fmla="*/ 157 w 184"/>
                <a:gd name="T21" fmla="*/ 255 h 275"/>
                <a:gd name="T22" fmla="*/ 98 w 184"/>
                <a:gd name="T23" fmla="*/ 275 h 275"/>
                <a:gd name="T24" fmla="*/ 60 w 184"/>
                <a:gd name="T25" fmla="*/ 268 h 275"/>
                <a:gd name="T26" fmla="*/ 34 w 184"/>
                <a:gd name="T27" fmla="*/ 254 h 275"/>
                <a:gd name="T28" fmla="*/ 26 w 184"/>
                <a:gd name="T29" fmla="*/ 252 h 275"/>
                <a:gd name="T30" fmla="*/ 16 w 184"/>
                <a:gd name="T31" fmla="*/ 270 h 275"/>
                <a:gd name="T32" fmla="*/ 0 w 184"/>
                <a:gd name="T33" fmla="*/ 270 h 275"/>
                <a:gd name="T34" fmla="*/ 0 w 184"/>
                <a:gd name="T35" fmla="*/ 172 h 275"/>
                <a:gd name="T36" fmla="*/ 16 w 184"/>
                <a:gd name="T37" fmla="*/ 172 h 275"/>
                <a:gd name="T38" fmla="*/ 37 w 184"/>
                <a:gd name="T39" fmla="*/ 224 h 275"/>
                <a:gd name="T40" fmla="*/ 63 w 184"/>
                <a:gd name="T41" fmla="*/ 248 h 275"/>
                <a:gd name="T42" fmla="*/ 97 w 184"/>
                <a:gd name="T43" fmla="*/ 257 h 275"/>
                <a:gd name="T44" fmla="*/ 132 w 184"/>
                <a:gd name="T45" fmla="*/ 242 h 275"/>
                <a:gd name="T46" fmla="*/ 144 w 184"/>
                <a:gd name="T47" fmla="*/ 210 h 275"/>
                <a:gd name="T48" fmla="*/ 120 w 184"/>
                <a:gd name="T49" fmla="*/ 170 h 275"/>
                <a:gd name="T50" fmla="*/ 70 w 184"/>
                <a:gd name="T51" fmla="*/ 149 h 275"/>
                <a:gd name="T52" fmla="*/ 28 w 184"/>
                <a:gd name="T53" fmla="*/ 128 h 275"/>
                <a:gd name="T54" fmla="*/ 3 w 184"/>
                <a:gd name="T55" fmla="*/ 72 h 275"/>
                <a:gd name="T56" fmla="*/ 26 w 184"/>
                <a:gd name="T57" fmla="*/ 19 h 275"/>
                <a:gd name="T58" fmla="*/ 80 w 184"/>
                <a:gd name="T59" fmla="*/ 0 h 275"/>
                <a:gd name="T60" fmla="*/ 134 w 184"/>
                <a:gd name="T61" fmla="*/ 16 h 275"/>
                <a:gd name="T62" fmla="*/ 143 w 184"/>
                <a:gd name="T63" fmla="*/ 19 h 275"/>
                <a:gd name="T64" fmla="*/ 151 w 184"/>
                <a:gd name="T65" fmla="*/ 6 h 275"/>
                <a:gd name="T66" fmla="*/ 168 w 184"/>
                <a:gd name="T67" fmla="*/ 6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84" h="275">
                  <a:moveTo>
                    <a:pt x="168" y="6"/>
                  </a:moveTo>
                  <a:cubicBezTo>
                    <a:pt x="168" y="89"/>
                    <a:pt x="168" y="89"/>
                    <a:pt x="168" y="89"/>
                  </a:cubicBezTo>
                  <a:cubicBezTo>
                    <a:pt x="151" y="89"/>
                    <a:pt x="151" y="89"/>
                    <a:pt x="151" y="89"/>
                  </a:cubicBezTo>
                  <a:cubicBezTo>
                    <a:pt x="142" y="41"/>
                    <a:pt x="119" y="17"/>
                    <a:pt x="84" y="17"/>
                  </a:cubicBezTo>
                  <a:cubicBezTo>
                    <a:pt x="71" y="17"/>
                    <a:pt x="61" y="21"/>
                    <a:pt x="53" y="28"/>
                  </a:cubicBezTo>
                  <a:cubicBezTo>
                    <a:pt x="45" y="36"/>
                    <a:pt x="41" y="46"/>
                    <a:pt x="41" y="57"/>
                  </a:cubicBezTo>
                  <a:cubicBezTo>
                    <a:pt x="41" y="70"/>
                    <a:pt x="47" y="80"/>
                    <a:pt x="58" y="88"/>
                  </a:cubicBezTo>
                  <a:cubicBezTo>
                    <a:pt x="64" y="92"/>
                    <a:pt x="74" y="96"/>
                    <a:pt x="89" y="101"/>
                  </a:cubicBezTo>
                  <a:cubicBezTo>
                    <a:pt x="120" y="111"/>
                    <a:pt x="142" y="120"/>
                    <a:pt x="152" y="128"/>
                  </a:cubicBezTo>
                  <a:cubicBezTo>
                    <a:pt x="173" y="144"/>
                    <a:pt x="184" y="165"/>
                    <a:pt x="184" y="191"/>
                  </a:cubicBezTo>
                  <a:cubicBezTo>
                    <a:pt x="184" y="217"/>
                    <a:pt x="175" y="238"/>
                    <a:pt x="157" y="255"/>
                  </a:cubicBezTo>
                  <a:cubicBezTo>
                    <a:pt x="141" y="269"/>
                    <a:pt x="122" y="275"/>
                    <a:pt x="98" y="275"/>
                  </a:cubicBezTo>
                  <a:cubicBezTo>
                    <a:pt x="84" y="275"/>
                    <a:pt x="71" y="273"/>
                    <a:pt x="60" y="268"/>
                  </a:cubicBezTo>
                  <a:cubicBezTo>
                    <a:pt x="55" y="266"/>
                    <a:pt x="46" y="262"/>
                    <a:pt x="34" y="254"/>
                  </a:cubicBezTo>
                  <a:cubicBezTo>
                    <a:pt x="31" y="253"/>
                    <a:pt x="28" y="252"/>
                    <a:pt x="26" y="252"/>
                  </a:cubicBezTo>
                  <a:cubicBezTo>
                    <a:pt x="23" y="252"/>
                    <a:pt x="19" y="258"/>
                    <a:pt x="16" y="270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172"/>
                    <a:pt x="0" y="172"/>
                    <a:pt x="0" y="172"/>
                  </a:cubicBezTo>
                  <a:cubicBezTo>
                    <a:pt x="16" y="172"/>
                    <a:pt x="16" y="172"/>
                    <a:pt x="16" y="172"/>
                  </a:cubicBezTo>
                  <a:cubicBezTo>
                    <a:pt x="23" y="196"/>
                    <a:pt x="30" y="214"/>
                    <a:pt x="37" y="224"/>
                  </a:cubicBezTo>
                  <a:cubicBezTo>
                    <a:pt x="44" y="234"/>
                    <a:pt x="53" y="242"/>
                    <a:pt x="63" y="248"/>
                  </a:cubicBezTo>
                  <a:cubicBezTo>
                    <a:pt x="74" y="254"/>
                    <a:pt x="85" y="257"/>
                    <a:pt x="97" y="257"/>
                  </a:cubicBezTo>
                  <a:cubicBezTo>
                    <a:pt x="112" y="257"/>
                    <a:pt x="123" y="252"/>
                    <a:pt x="132" y="242"/>
                  </a:cubicBezTo>
                  <a:cubicBezTo>
                    <a:pt x="140" y="233"/>
                    <a:pt x="144" y="222"/>
                    <a:pt x="144" y="210"/>
                  </a:cubicBezTo>
                  <a:cubicBezTo>
                    <a:pt x="144" y="193"/>
                    <a:pt x="136" y="179"/>
                    <a:pt x="120" y="170"/>
                  </a:cubicBezTo>
                  <a:cubicBezTo>
                    <a:pt x="112" y="164"/>
                    <a:pt x="95" y="158"/>
                    <a:pt x="70" y="149"/>
                  </a:cubicBezTo>
                  <a:cubicBezTo>
                    <a:pt x="53" y="144"/>
                    <a:pt x="39" y="137"/>
                    <a:pt x="28" y="128"/>
                  </a:cubicBezTo>
                  <a:cubicBezTo>
                    <a:pt x="11" y="115"/>
                    <a:pt x="3" y="97"/>
                    <a:pt x="3" y="72"/>
                  </a:cubicBezTo>
                  <a:cubicBezTo>
                    <a:pt x="3" y="50"/>
                    <a:pt x="10" y="32"/>
                    <a:pt x="26" y="19"/>
                  </a:cubicBezTo>
                  <a:cubicBezTo>
                    <a:pt x="40" y="6"/>
                    <a:pt x="58" y="0"/>
                    <a:pt x="80" y="0"/>
                  </a:cubicBezTo>
                  <a:cubicBezTo>
                    <a:pt x="99" y="0"/>
                    <a:pt x="117" y="5"/>
                    <a:pt x="134" y="16"/>
                  </a:cubicBezTo>
                  <a:cubicBezTo>
                    <a:pt x="138" y="18"/>
                    <a:pt x="141" y="19"/>
                    <a:pt x="143" y="19"/>
                  </a:cubicBezTo>
                  <a:cubicBezTo>
                    <a:pt x="146" y="19"/>
                    <a:pt x="149" y="14"/>
                    <a:pt x="151" y="6"/>
                  </a:cubicBezTo>
                  <a:lnTo>
                    <a:pt x="168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" name="Freeform 13"/>
            <p:cNvSpPr>
              <a:spLocks/>
            </p:cNvSpPr>
            <p:nvPr userDrawn="1"/>
          </p:nvSpPr>
          <p:spPr bwMode="auto">
            <a:xfrm>
              <a:off x="7566025" y="6704013"/>
              <a:ext cx="239713" cy="506412"/>
            </a:xfrm>
            <a:custGeom>
              <a:avLst/>
              <a:gdLst>
                <a:gd name="T0" fmla="*/ 90 w 176"/>
                <a:gd name="T1" fmla="*/ 119 h 369"/>
                <a:gd name="T2" fmla="*/ 90 w 176"/>
                <a:gd name="T3" fmla="*/ 278 h 369"/>
                <a:gd name="T4" fmla="*/ 94 w 176"/>
                <a:gd name="T5" fmla="*/ 323 h 369"/>
                <a:gd name="T6" fmla="*/ 122 w 176"/>
                <a:gd name="T7" fmla="*/ 345 h 369"/>
                <a:gd name="T8" fmla="*/ 149 w 176"/>
                <a:gd name="T9" fmla="*/ 326 h 369"/>
                <a:gd name="T10" fmla="*/ 157 w 176"/>
                <a:gd name="T11" fmla="*/ 281 h 369"/>
                <a:gd name="T12" fmla="*/ 157 w 176"/>
                <a:gd name="T13" fmla="*/ 273 h 369"/>
                <a:gd name="T14" fmla="*/ 176 w 176"/>
                <a:gd name="T15" fmla="*/ 273 h 369"/>
                <a:gd name="T16" fmla="*/ 176 w 176"/>
                <a:gd name="T17" fmla="*/ 284 h 369"/>
                <a:gd name="T18" fmla="*/ 159 w 176"/>
                <a:gd name="T19" fmla="*/ 347 h 369"/>
                <a:gd name="T20" fmla="*/ 108 w 176"/>
                <a:gd name="T21" fmla="*/ 369 h 369"/>
                <a:gd name="T22" fmla="*/ 58 w 176"/>
                <a:gd name="T23" fmla="*/ 350 h 369"/>
                <a:gd name="T24" fmla="*/ 43 w 176"/>
                <a:gd name="T25" fmla="*/ 315 h 369"/>
                <a:gd name="T26" fmla="*/ 42 w 176"/>
                <a:gd name="T27" fmla="*/ 278 h 369"/>
                <a:gd name="T28" fmla="*/ 42 w 176"/>
                <a:gd name="T29" fmla="*/ 119 h 369"/>
                <a:gd name="T30" fmla="*/ 0 w 176"/>
                <a:gd name="T31" fmla="*/ 119 h 369"/>
                <a:gd name="T32" fmla="*/ 0 w 176"/>
                <a:gd name="T33" fmla="*/ 103 h 369"/>
                <a:gd name="T34" fmla="*/ 54 w 176"/>
                <a:gd name="T35" fmla="*/ 72 h 369"/>
                <a:gd name="T36" fmla="*/ 74 w 176"/>
                <a:gd name="T37" fmla="*/ 0 h 369"/>
                <a:gd name="T38" fmla="*/ 90 w 176"/>
                <a:gd name="T39" fmla="*/ 0 h 369"/>
                <a:gd name="T40" fmla="*/ 90 w 176"/>
                <a:gd name="T41" fmla="*/ 100 h 369"/>
                <a:gd name="T42" fmla="*/ 167 w 176"/>
                <a:gd name="T43" fmla="*/ 100 h 369"/>
                <a:gd name="T44" fmla="*/ 167 w 176"/>
                <a:gd name="T45" fmla="*/ 119 h 369"/>
                <a:gd name="T46" fmla="*/ 90 w 176"/>
                <a:gd name="T47" fmla="*/ 119 h 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6" h="369">
                  <a:moveTo>
                    <a:pt x="90" y="119"/>
                  </a:moveTo>
                  <a:cubicBezTo>
                    <a:pt x="90" y="278"/>
                    <a:pt x="90" y="278"/>
                    <a:pt x="90" y="278"/>
                  </a:cubicBezTo>
                  <a:cubicBezTo>
                    <a:pt x="90" y="299"/>
                    <a:pt x="92" y="314"/>
                    <a:pt x="94" y="323"/>
                  </a:cubicBezTo>
                  <a:cubicBezTo>
                    <a:pt x="99" y="338"/>
                    <a:pt x="108" y="345"/>
                    <a:pt x="122" y="345"/>
                  </a:cubicBezTo>
                  <a:cubicBezTo>
                    <a:pt x="134" y="345"/>
                    <a:pt x="143" y="339"/>
                    <a:pt x="149" y="326"/>
                  </a:cubicBezTo>
                  <a:cubicBezTo>
                    <a:pt x="154" y="314"/>
                    <a:pt x="157" y="299"/>
                    <a:pt x="157" y="281"/>
                  </a:cubicBezTo>
                  <a:cubicBezTo>
                    <a:pt x="157" y="273"/>
                    <a:pt x="157" y="273"/>
                    <a:pt x="157" y="273"/>
                  </a:cubicBezTo>
                  <a:cubicBezTo>
                    <a:pt x="176" y="273"/>
                    <a:pt x="176" y="273"/>
                    <a:pt x="176" y="273"/>
                  </a:cubicBezTo>
                  <a:cubicBezTo>
                    <a:pt x="176" y="284"/>
                    <a:pt x="176" y="284"/>
                    <a:pt x="176" y="284"/>
                  </a:cubicBezTo>
                  <a:cubicBezTo>
                    <a:pt x="176" y="310"/>
                    <a:pt x="170" y="331"/>
                    <a:pt x="159" y="347"/>
                  </a:cubicBezTo>
                  <a:cubicBezTo>
                    <a:pt x="148" y="362"/>
                    <a:pt x="131" y="369"/>
                    <a:pt x="108" y="369"/>
                  </a:cubicBezTo>
                  <a:cubicBezTo>
                    <a:pt x="85" y="369"/>
                    <a:pt x="69" y="363"/>
                    <a:pt x="58" y="350"/>
                  </a:cubicBezTo>
                  <a:cubicBezTo>
                    <a:pt x="50" y="340"/>
                    <a:pt x="45" y="329"/>
                    <a:pt x="43" y="315"/>
                  </a:cubicBezTo>
                  <a:cubicBezTo>
                    <a:pt x="42" y="305"/>
                    <a:pt x="42" y="293"/>
                    <a:pt x="42" y="278"/>
                  </a:cubicBezTo>
                  <a:cubicBezTo>
                    <a:pt x="42" y="119"/>
                    <a:pt x="42" y="119"/>
                    <a:pt x="42" y="119"/>
                  </a:cubicBezTo>
                  <a:cubicBezTo>
                    <a:pt x="0" y="119"/>
                    <a:pt x="0" y="119"/>
                    <a:pt x="0" y="119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27" y="97"/>
                    <a:pt x="45" y="86"/>
                    <a:pt x="54" y="72"/>
                  </a:cubicBezTo>
                  <a:cubicBezTo>
                    <a:pt x="64" y="57"/>
                    <a:pt x="71" y="33"/>
                    <a:pt x="74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0" y="100"/>
                    <a:pt x="90" y="100"/>
                    <a:pt x="90" y="100"/>
                  </a:cubicBezTo>
                  <a:cubicBezTo>
                    <a:pt x="167" y="100"/>
                    <a:pt x="167" y="100"/>
                    <a:pt x="167" y="100"/>
                  </a:cubicBezTo>
                  <a:cubicBezTo>
                    <a:pt x="167" y="119"/>
                    <a:pt x="167" y="119"/>
                    <a:pt x="167" y="119"/>
                  </a:cubicBezTo>
                  <a:lnTo>
                    <a:pt x="90" y="1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" name="Freeform 14"/>
            <p:cNvSpPr>
              <a:spLocks noEditPoints="1"/>
            </p:cNvSpPr>
            <p:nvPr userDrawn="1"/>
          </p:nvSpPr>
          <p:spPr bwMode="auto">
            <a:xfrm>
              <a:off x="7829550" y="6831013"/>
              <a:ext cx="287338" cy="382587"/>
            </a:xfrm>
            <a:custGeom>
              <a:avLst/>
              <a:gdLst>
                <a:gd name="T0" fmla="*/ 210 w 210"/>
                <a:gd name="T1" fmla="*/ 138 h 280"/>
                <a:gd name="T2" fmla="*/ 53 w 210"/>
                <a:gd name="T3" fmla="*/ 138 h 280"/>
                <a:gd name="T4" fmla="*/ 65 w 210"/>
                <a:gd name="T5" fmla="*/ 220 h 280"/>
                <a:gd name="T6" fmla="*/ 119 w 210"/>
                <a:gd name="T7" fmla="*/ 257 h 280"/>
                <a:gd name="T8" fmla="*/ 168 w 210"/>
                <a:gd name="T9" fmla="*/ 234 h 280"/>
                <a:gd name="T10" fmla="*/ 190 w 210"/>
                <a:gd name="T11" fmla="*/ 198 h 280"/>
                <a:gd name="T12" fmla="*/ 207 w 210"/>
                <a:gd name="T13" fmla="*/ 207 h 280"/>
                <a:gd name="T14" fmla="*/ 110 w 210"/>
                <a:gd name="T15" fmla="*/ 280 h 280"/>
                <a:gd name="T16" fmla="*/ 36 w 210"/>
                <a:gd name="T17" fmla="*/ 249 h 280"/>
                <a:gd name="T18" fmla="*/ 0 w 210"/>
                <a:gd name="T19" fmla="*/ 138 h 280"/>
                <a:gd name="T20" fmla="*/ 36 w 210"/>
                <a:gd name="T21" fmla="*/ 31 h 280"/>
                <a:gd name="T22" fmla="*/ 104 w 210"/>
                <a:gd name="T23" fmla="*/ 0 h 280"/>
                <a:gd name="T24" fmla="*/ 193 w 210"/>
                <a:gd name="T25" fmla="*/ 59 h 280"/>
                <a:gd name="T26" fmla="*/ 210 w 210"/>
                <a:gd name="T27" fmla="*/ 138 h 280"/>
                <a:gd name="T28" fmla="*/ 157 w 210"/>
                <a:gd name="T29" fmla="*/ 118 h 280"/>
                <a:gd name="T30" fmla="*/ 150 w 210"/>
                <a:gd name="T31" fmla="*/ 60 h 280"/>
                <a:gd name="T32" fmla="*/ 107 w 210"/>
                <a:gd name="T33" fmla="*/ 20 h 280"/>
                <a:gd name="T34" fmla="*/ 60 w 210"/>
                <a:gd name="T35" fmla="*/ 69 h 280"/>
                <a:gd name="T36" fmla="*/ 54 w 210"/>
                <a:gd name="T37" fmla="*/ 118 h 280"/>
                <a:gd name="T38" fmla="*/ 157 w 210"/>
                <a:gd name="T39" fmla="*/ 118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10" h="280">
                  <a:moveTo>
                    <a:pt x="210" y="138"/>
                  </a:moveTo>
                  <a:cubicBezTo>
                    <a:pt x="53" y="138"/>
                    <a:pt x="53" y="138"/>
                    <a:pt x="53" y="138"/>
                  </a:cubicBezTo>
                  <a:cubicBezTo>
                    <a:pt x="54" y="175"/>
                    <a:pt x="58" y="202"/>
                    <a:pt x="65" y="220"/>
                  </a:cubicBezTo>
                  <a:cubicBezTo>
                    <a:pt x="75" y="245"/>
                    <a:pt x="93" y="257"/>
                    <a:pt x="119" y="257"/>
                  </a:cubicBezTo>
                  <a:cubicBezTo>
                    <a:pt x="139" y="257"/>
                    <a:pt x="155" y="249"/>
                    <a:pt x="168" y="234"/>
                  </a:cubicBezTo>
                  <a:cubicBezTo>
                    <a:pt x="176" y="225"/>
                    <a:pt x="183" y="213"/>
                    <a:pt x="190" y="198"/>
                  </a:cubicBezTo>
                  <a:cubicBezTo>
                    <a:pt x="207" y="207"/>
                    <a:pt x="207" y="207"/>
                    <a:pt x="207" y="207"/>
                  </a:cubicBezTo>
                  <a:cubicBezTo>
                    <a:pt x="183" y="256"/>
                    <a:pt x="151" y="280"/>
                    <a:pt x="110" y="280"/>
                  </a:cubicBezTo>
                  <a:cubicBezTo>
                    <a:pt x="80" y="280"/>
                    <a:pt x="55" y="269"/>
                    <a:pt x="36" y="249"/>
                  </a:cubicBezTo>
                  <a:cubicBezTo>
                    <a:pt x="12" y="223"/>
                    <a:pt x="0" y="186"/>
                    <a:pt x="0" y="138"/>
                  </a:cubicBezTo>
                  <a:cubicBezTo>
                    <a:pt x="0" y="94"/>
                    <a:pt x="12" y="58"/>
                    <a:pt x="36" y="31"/>
                  </a:cubicBezTo>
                  <a:cubicBezTo>
                    <a:pt x="55" y="10"/>
                    <a:pt x="77" y="0"/>
                    <a:pt x="104" y="0"/>
                  </a:cubicBezTo>
                  <a:cubicBezTo>
                    <a:pt x="143" y="0"/>
                    <a:pt x="173" y="19"/>
                    <a:pt x="193" y="59"/>
                  </a:cubicBezTo>
                  <a:cubicBezTo>
                    <a:pt x="203" y="80"/>
                    <a:pt x="209" y="106"/>
                    <a:pt x="210" y="138"/>
                  </a:cubicBezTo>
                  <a:close/>
                  <a:moveTo>
                    <a:pt x="157" y="118"/>
                  </a:moveTo>
                  <a:cubicBezTo>
                    <a:pt x="157" y="94"/>
                    <a:pt x="155" y="75"/>
                    <a:pt x="150" y="60"/>
                  </a:cubicBezTo>
                  <a:cubicBezTo>
                    <a:pt x="141" y="33"/>
                    <a:pt x="126" y="20"/>
                    <a:pt x="107" y="20"/>
                  </a:cubicBezTo>
                  <a:cubicBezTo>
                    <a:pt x="85" y="20"/>
                    <a:pt x="69" y="36"/>
                    <a:pt x="60" y="69"/>
                  </a:cubicBezTo>
                  <a:cubicBezTo>
                    <a:pt x="56" y="82"/>
                    <a:pt x="54" y="99"/>
                    <a:pt x="54" y="118"/>
                  </a:cubicBezTo>
                  <a:lnTo>
                    <a:pt x="157" y="1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" name="Freeform 15"/>
            <p:cNvSpPr>
              <a:spLocks/>
            </p:cNvSpPr>
            <p:nvPr userDrawn="1"/>
          </p:nvSpPr>
          <p:spPr bwMode="auto">
            <a:xfrm>
              <a:off x="8143875" y="6834188"/>
              <a:ext cx="539750" cy="368300"/>
            </a:xfrm>
            <a:custGeom>
              <a:avLst/>
              <a:gdLst>
                <a:gd name="T0" fmla="*/ 312 w 396"/>
                <a:gd name="T1" fmla="*/ 270 h 270"/>
                <a:gd name="T2" fmla="*/ 312 w 396"/>
                <a:gd name="T3" fmla="*/ 108 h 270"/>
                <a:gd name="T4" fmla="*/ 305 w 396"/>
                <a:gd name="T5" fmla="*/ 44 h 270"/>
                <a:gd name="T6" fmla="*/ 275 w 396"/>
                <a:gd name="T7" fmla="*/ 25 h 270"/>
                <a:gd name="T8" fmla="*/ 236 w 396"/>
                <a:gd name="T9" fmla="*/ 52 h 270"/>
                <a:gd name="T10" fmla="*/ 225 w 396"/>
                <a:gd name="T11" fmla="*/ 84 h 270"/>
                <a:gd name="T12" fmla="*/ 223 w 396"/>
                <a:gd name="T13" fmla="*/ 134 h 270"/>
                <a:gd name="T14" fmla="*/ 223 w 396"/>
                <a:gd name="T15" fmla="*/ 205 h 270"/>
                <a:gd name="T16" fmla="*/ 230 w 396"/>
                <a:gd name="T17" fmla="*/ 245 h 270"/>
                <a:gd name="T18" fmla="*/ 252 w 396"/>
                <a:gd name="T19" fmla="*/ 252 h 270"/>
                <a:gd name="T20" fmla="*/ 261 w 396"/>
                <a:gd name="T21" fmla="*/ 252 h 270"/>
                <a:gd name="T22" fmla="*/ 261 w 396"/>
                <a:gd name="T23" fmla="*/ 270 h 270"/>
                <a:gd name="T24" fmla="*/ 175 w 396"/>
                <a:gd name="T25" fmla="*/ 270 h 270"/>
                <a:gd name="T26" fmla="*/ 175 w 396"/>
                <a:gd name="T27" fmla="*/ 117 h 270"/>
                <a:gd name="T28" fmla="*/ 173 w 396"/>
                <a:gd name="T29" fmla="*/ 66 h 270"/>
                <a:gd name="T30" fmla="*/ 137 w 396"/>
                <a:gd name="T31" fmla="*/ 25 h 270"/>
                <a:gd name="T32" fmla="*/ 99 w 396"/>
                <a:gd name="T33" fmla="*/ 53 h 270"/>
                <a:gd name="T34" fmla="*/ 89 w 396"/>
                <a:gd name="T35" fmla="*/ 81 h 270"/>
                <a:gd name="T36" fmla="*/ 86 w 396"/>
                <a:gd name="T37" fmla="*/ 134 h 270"/>
                <a:gd name="T38" fmla="*/ 86 w 396"/>
                <a:gd name="T39" fmla="*/ 205 h 270"/>
                <a:gd name="T40" fmla="*/ 93 w 396"/>
                <a:gd name="T41" fmla="*/ 245 h 270"/>
                <a:gd name="T42" fmla="*/ 116 w 396"/>
                <a:gd name="T43" fmla="*/ 252 h 270"/>
                <a:gd name="T44" fmla="*/ 124 w 396"/>
                <a:gd name="T45" fmla="*/ 252 h 270"/>
                <a:gd name="T46" fmla="*/ 124 w 396"/>
                <a:gd name="T47" fmla="*/ 270 h 270"/>
                <a:gd name="T48" fmla="*/ 0 w 396"/>
                <a:gd name="T49" fmla="*/ 270 h 270"/>
                <a:gd name="T50" fmla="*/ 0 w 396"/>
                <a:gd name="T51" fmla="*/ 252 h 270"/>
                <a:gd name="T52" fmla="*/ 9 w 396"/>
                <a:gd name="T53" fmla="*/ 252 h 270"/>
                <a:gd name="T54" fmla="*/ 31 w 396"/>
                <a:gd name="T55" fmla="*/ 245 h 270"/>
                <a:gd name="T56" fmla="*/ 38 w 396"/>
                <a:gd name="T57" fmla="*/ 205 h 270"/>
                <a:gd name="T58" fmla="*/ 38 w 396"/>
                <a:gd name="T59" fmla="*/ 69 h 270"/>
                <a:gd name="T60" fmla="*/ 31 w 396"/>
                <a:gd name="T61" fmla="*/ 30 h 270"/>
                <a:gd name="T62" fmla="*/ 9 w 396"/>
                <a:gd name="T63" fmla="*/ 24 h 270"/>
                <a:gd name="T64" fmla="*/ 2 w 396"/>
                <a:gd name="T65" fmla="*/ 24 h 270"/>
                <a:gd name="T66" fmla="*/ 2 w 396"/>
                <a:gd name="T67" fmla="*/ 6 h 270"/>
                <a:gd name="T68" fmla="*/ 83 w 396"/>
                <a:gd name="T69" fmla="*/ 2 h 270"/>
                <a:gd name="T70" fmla="*/ 83 w 396"/>
                <a:gd name="T71" fmla="*/ 49 h 270"/>
                <a:gd name="T72" fmla="*/ 99 w 396"/>
                <a:gd name="T73" fmla="*/ 23 h 270"/>
                <a:gd name="T74" fmla="*/ 150 w 396"/>
                <a:gd name="T75" fmla="*/ 0 h 270"/>
                <a:gd name="T76" fmla="*/ 217 w 396"/>
                <a:gd name="T77" fmla="*/ 52 h 270"/>
                <a:gd name="T78" fmla="*/ 288 w 396"/>
                <a:gd name="T79" fmla="*/ 0 h 270"/>
                <a:gd name="T80" fmla="*/ 346 w 396"/>
                <a:gd name="T81" fmla="*/ 30 h 270"/>
                <a:gd name="T82" fmla="*/ 358 w 396"/>
                <a:gd name="T83" fmla="*/ 66 h 270"/>
                <a:gd name="T84" fmla="*/ 360 w 396"/>
                <a:gd name="T85" fmla="*/ 102 h 270"/>
                <a:gd name="T86" fmla="*/ 360 w 396"/>
                <a:gd name="T87" fmla="*/ 205 h 270"/>
                <a:gd name="T88" fmla="*/ 367 w 396"/>
                <a:gd name="T89" fmla="*/ 245 h 270"/>
                <a:gd name="T90" fmla="*/ 389 w 396"/>
                <a:gd name="T91" fmla="*/ 252 h 270"/>
                <a:gd name="T92" fmla="*/ 396 w 396"/>
                <a:gd name="T93" fmla="*/ 252 h 270"/>
                <a:gd name="T94" fmla="*/ 396 w 396"/>
                <a:gd name="T95" fmla="*/ 270 h 270"/>
                <a:gd name="T96" fmla="*/ 312 w 396"/>
                <a:gd name="T97" fmla="*/ 27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96" h="270">
                  <a:moveTo>
                    <a:pt x="312" y="270"/>
                  </a:moveTo>
                  <a:cubicBezTo>
                    <a:pt x="312" y="108"/>
                    <a:pt x="312" y="108"/>
                    <a:pt x="312" y="108"/>
                  </a:cubicBezTo>
                  <a:cubicBezTo>
                    <a:pt x="312" y="75"/>
                    <a:pt x="309" y="54"/>
                    <a:pt x="305" y="44"/>
                  </a:cubicBezTo>
                  <a:cubicBezTo>
                    <a:pt x="298" y="31"/>
                    <a:pt x="288" y="25"/>
                    <a:pt x="275" y="25"/>
                  </a:cubicBezTo>
                  <a:cubicBezTo>
                    <a:pt x="259" y="25"/>
                    <a:pt x="246" y="34"/>
                    <a:pt x="236" y="52"/>
                  </a:cubicBezTo>
                  <a:cubicBezTo>
                    <a:pt x="231" y="62"/>
                    <a:pt x="227" y="73"/>
                    <a:pt x="225" y="84"/>
                  </a:cubicBezTo>
                  <a:cubicBezTo>
                    <a:pt x="224" y="93"/>
                    <a:pt x="223" y="109"/>
                    <a:pt x="223" y="134"/>
                  </a:cubicBezTo>
                  <a:cubicBezTo>
                    <a:pt x="223" y="205"/>
                    <a:pt x="223" y="205"/>
                    <a:pt x="223" y="205"/>
                  </a:cubicBezTo>
                  <a:cubicBezTo>
                    <a:pt x="223" y="226"/>
                    <a:pt x="226" y="240"/>
                    <a:pt x="230" y="245"/>
                  </a:cubicBezTo>
                  <a:cubicBezTo>
                    <a:pt x="234" y="250"/>
                    <a:pt x="242" y="252"/>
                    <a:pt x="252" y="252"/>
                  </a:cubicBezTo>
                  <a:cubicBezTo>
                    <a:pt x="261" y="252"/>
                    <a:pt x="261" y="252"/>
                    <a:pt x="261" y="252"/>
                  </a:cubicBezTo>
                  <a:cubicBezTo>
                    <a:pt x="261" y="270"/>
                    <a:pt x="261" y="270"/>
                    <a:pt x="261" y="270"/>
                  </a:cubicBezTo>
                  <a:cubicBezTo>
                    <a:pt x="175" y="270"/>
                    <a:pt x="175" y="270"/>
                    <a:pt x="175" y="270"/>
                  </a:cubicBezTo>
                  <a:cubicBezTo>
                    <a:pt x="175" y="117"/>
                    <a:pt x="175" y="117"/>
                    <a:pt x="175" y="117"/>
                  </a:cubicBezTo>
                  <a:cubicBezTo>
                    <a:pt x="175" y="91"/>
                    <a:pt x="174" y="74"/>
                    <a:pt x="173" y="66"/>
                  </a:cubicBezTo>
                  <a:cubicBezTo>
                    <a:pt x="169" y="39"/>
                    <a:pt x="157" y="25"/>
                    <a:pt x="137" y="25"/>
                  </a:cubicBezTo>
                  <a:cubicBezTo>
                    <a:pt x="121" y="25"/>
                    <a:pt x="108" y="34"/>
                    <a:pt x="99" y="53"/>
                  </a:cubicBezTo>
                  <a:cubicBezTo>
                    <a:pt x="94" y="62"/>
                    <a:pt x="91" y="71"/>
                    <a:pt x="89" y="81"/>
                  </a:cubicBezTo>
                  <a:cubicBezTo>
                    <a:pt x="87" y="91"/>
                    <a:pt x="86" y="108"/>
                    <a:pt x="86" y="134"/>
                  </a:cubicBezTo>
                  <a:cubicBezTo>
                    <a:pt x="86" y="205"/>
                    <a:pt x="86" y="205"/>
                    <a:pt x="86" y="205"/>
                  </a:cubicBezTo>
                  <a:cubicBezTo>
                    <a:pt x="86" y="227"/>
                    <a:pt x="89" y="240"/>
                    <a:pt x="93" y="245"/>
                  </a:cubicBezTo>
                  <a:cubicBezTo>
                    <a:pt x="97" y="250"/>
                    <a:pt x="105" y="252"/>
                    <a:pt x="116" y="252"/>
                  </a:cubicBezTo>
                  <a:cubicBezTo>
                    <a:pt x="124" y="252"/>
                    <a:pt x="124" y="252"/>
                    <a:pt x="124" y="252"/>
                  </a:cubicBezTo>
                  <a:cubicBezTo>
                    <a:pt x="124" y="270"/>
                    <a:pt x="124" y="270"/>
                    <a:pt x="124" y="270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252"/>
                    <a:pt x="0" y="252"/>
                    <a:pt x="0" y="252"/>
                  </a:cubicBezTo>
                  <a:cubicBezTo>
                    <a:pt x="9" y="252"/>
                    <a:pt x="9" y="252"/>
                    <a:pt x="9" y="252"/>
                  </a:cubicBezTo>
                  <a:cubicBezTo>
                    <a:pt x="19" y="252"/>
                    <a:pt x="27" y="250"/>
                    <a:pt x="31" y="245"/>
                  </a:cubicBezTo>
                  <a:cubicBezTo>
                    <a:pt x="36" y="240"/>
                    <a:pt x="38" y="226"/>
                    <a:pt x="38" y="205"/>
                  </a:cubicBezTo>
                  <a:cubicBezTo>
                    <a:pt x="38" y="69"/>
                    <a:pt x="38" y="69"/>
                    <a:pt x="38" y="69"/>
                  </a:cubicBezTo>
                  <a:cubicBezTo>
                    <a:pt x="38" y="49"/>
                    <a:pt x="36" y="36"/>
                    <a:pt x="31" y="30"/>
                  </a:cubicBezTo>
                  <a:cubicBezTo>
                    <a:pt x="27" y="26"/>
                    <a:pt x="19" y="24"/>
                    <a:pt x="9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83" y="2"/>
                    <a:pt x="83" y="2"/>
                    <a:pt x="83" y="2"/>
                  </a:cubicBezTo>
                  <a:cubicBezTo>
                    <a:pt x="83" y="49"/>
                    <a:pt x="83" y="49"/>
                    <a:pt x="83" y="49"/>
                  </a:cubicBezTo>
                  <a:cubicBezTo>
                    <a:pt x="87" y="39"/>
                    <a:pt x="92" y="31"/>
                    <a:pt x="99" y="23"/>
                  </a:cubicBezTo>
                  <a:cubicBezTo>
                    <a:pt x="113" y="8"/>
                    <a:pt x="130" y="0"/>
                    <a:pt x="150" y="0"/>
                  </a:cubicBezTo>
                  <a:cubicBezTo>
                    <a:pt x="181" y="0"/>
                    <a:pt x="203" y="18"/>
                    <a:pt x="217" y="52"/>
                  </a:cubicBezTo>
                  <a:cubicBezTo>
                    <a:pt x="234" y="18"/>
                    <a:pt x="257" y="0"/>
                    <a:pt x="288" y="0"/>
                  </a:cubicBezTo>
                  <a:cubicBezTo>
                    <a:pt x="314" y="0"/>
                    <a:pt x="333" y="10"/>
                    <a:pt x="346" y="30"/>
                  </a:cubicBezTo>
                  <a:cubicBezTo>
                    <a:pt x="353" y="41"/>
                    <a:pt x="357" y="53"/>
                    <a:pt x="358" y="66"/>
                  </a:cubicBezTo>
                  <a:cubicBezTo>
                    <a:pt x="359" y="77"/>
                    <a:pt x="360" y="89"/>
                    <a:pt x="360" y="102"/>
                  </a:cubicBezTo>
                  <a:cubicBezTo>
                    <a:pt x="360" y="205"/>
                    <a:pt x="360" y="205"/>
                    <a:pt x="360" y="205"/>
                  </a:cubicBezTo>
                  <a:cubicBezTo>
                    <a:pt x="360" y="226"/>
                    <a:pt x="362" y="240"/>
                    <a:pt x="367" y="245"/>
                  </a:cubicBezTo>
                  <a:cubicBezTo>
                    <a:pt x="371" y="250"/>
                    <a:pt x="378" y="252"/>
                    <a:pt x="389" y="252"/>
                  </a:cubicBezTo>
                  <a:cubicBezTo>
                    <a:pt x="396" y="252"/>
                    <a:pt x="396" y="252"/>
                    <a:pt x="396" y="252"/>
                  </a:cubicBezTo>
                  <a:cubicBezTo>
                    <a:pt x="396" y="270"/>
                    <a:pt x="396" y="270"/>
                    <a:pt x="396" y="270"/>
                  </a:cubicBezTo>
                  <a:lnTo>
                    <a:pt x="312" y="2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" name="Freeform 16"/>
            <p:cNvSpPr>
              <a:spLocks/>
            </p:cNvSpPr>
            <p:nvPr userDrawn="1"/>
          </p:nvSpPr>
          <p:spPr bwMode="auto">
            <a:xfrm>
              <a:off x="8721725" y="6834188"/>
              <a:ext cx="250825" cy="376237"/>
            </a:xfrm>
            <a:custGeom>
              <a:avLst/>
              <a:gdLst>
                <a:gd name="T0" fmla="*/ 168 w 184"/>
                <a:gd name="T1" fmla="*/ 6 h 275"/>
                <a:gd name="T2" fmla="*/ 168 w 184"/>
                <a:gd name="T3" fmla="*/ 89 h 275"/>
                <a:gd name="T4" fmla="*/ 151 w 184"/>
                <a:gd name="T5" fmla="*/ 89 h 275"/>
                <a:gd name="T6" fmla="*/ 84 w 184"/>
                <a:gd name="T7" fmla="*/ 17 h 275"/>
                <a:gd name="T8" fmla="*/ 53 w 184"/>
                <a:gd name="T9" fmla="*/ 28 h 275"/>
                <a:gd name="T10" fmla="*/ 41 w 184"/>
                <a:gd name="T11" fmla="*/ 57 h 275"/>
                <a:gd name="T12" fmla="*/ 58 w 184"/>
                <a:gd name="T13" fmla="*/ 88 h 275"/>
                <a:gd name="T14" fmla="*/ 88 w 184"/>
                <a:gd name="T15" fmla="*/ 101 h 275"/>
                <a:gd name="T16" fmla="*/ 152 w 184"/>
                <a:gd name="T17" fmla="*/ 128 h 275"/>
                <a:gd name="T18" fmla="*/ 184 w 184"/>
                <a:gd name="T19" fmla="*/ 191 h 275"/>
                <a:gd name="T20" fmla="*/ 156 w 184"/>
                <a:gd name="T21" fmla="*/ 255 h 275"/>
                <a:gd name="T22" fmla="*/ 98 w 184"/>
                <a:gd name="T23" fmla="*/ 275 h 275"/>
                <a:gd name="T24" fmla="*/ 59 w 184"/>
                <a:gd name="T25" fmla="*/ 268 h 275"/>
                <a:gd name="T26" fmla="*/ 33 w 184"/>
                <a:gd name="T27" fmla="*/ 254 h 275"/>
                <a:gd name="T28" fmla="*/ 26 w 184"/>
                <a:gd name="T29" fmla="*/ 252 h 275"/>
                <a:gd name="T30" fmla="*/ 16 w 184"/>
                <a:gd name="T31" fmla="*/ 270 h 275"/>
                <a:gd name="T32" fmla="*/ 0 w 184"/>
                <a:gd name="T33" fmla="*/ 270 h 275"/>
                <a:gd name="T34" fmla="*/ 0 w 184"/>
                <a:gd name="T35" fmla="*/ 172 h 275"/>
                <a:gd name="T36" fmla="*/ 16 w 184"/>
                <a:gd name="T37" fmla="*/ 172 h 275"/>
                <a:gd name="T38" fmla="*/ 37 w 184"/>
                <a:gd name="T39" fmla="*/ 224 h 275"/>
                <a:gd name="T40" fmla="*/ 63 w 184"/>
                <a:gd name="T41" fmla="*/ 248 h 275"/>
                <a:gd name="T42" fmla="*/ 97 w 184"/>
                <a:gd name="T43" fmla="*/ 257 h 275"/>
                <a:gd name="T44" fmla="*/ 131 w 184"/>
                <a:gd name="T45" fmla="*/ 242 h 275"/>
                <a:gd name="T46" fmla="*/ 144 w 184"/>
                <a:gd name="T47" fmla="*/ 210 h 275"/>
                <a:gd name="T48" fmla="*/ 120 w 184"/>
                <a:gd name="T49" fmla="*/ 170 h 275"/>
                <a:gd name="T50" fmla="*/ 69 w 184"/>
                <a:gd name="T51" fmla="*/ 149 h 275"/>
                <a:gd name="T52" fmla="*/ 28 w 184"/>
                <a:gd name="T53" fmla="*/ 128 h 275"/>
                <a:gd name="T54" fmla="*/ 2 w 184"/>
                <a:gd name="T55" fmla="*/ 72 h 275"/>
                <a:gd name="T56" fmla="*/ 26 w 184"/>
                <a:gd name="T57" fmla="*/ 19 h 275"/>
                <a:gd name="T58" fmla="*/ 80 w 184"/>
                <a:gd name="T59" fmla="*/ 0 h 275"/>
                <a:gd name="T60" fmla="*/ 134 w 184"/>
                <a:gd name="T61" fmla="*/ 16 h 275"/>
                <a:gd name="T62" fmla="*/ 142 w 184"/>
                <a:gd name="T63" fmla="*/ 19 h 275"/>
                <a:gd name="T64" fmla="*/ 151 w 184"/>
                <a:gd name="T65" fmla="*/ 6 h 275"/>
                <a:gd name="T66" fmla="*/ 168 w 184"/>
                <a:gd name="T67" fmla="*/ 6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84" h="275">
                  <a:moveTo>
                    <a:pt x="168" y="6"/>
                  </a:moveTo>
                  <a:cubicBezTo>
                    <a:pt x="168" y="89"/>
                    <a:pt x="168" y="89"/>
                    <a:pt x="168" y="89"/>
                  </a:cubicBezTo>
                  <a:cubicBezTo>
                    <a:pt x="151" y="89"/>
                    <a:pt x="151" y="89"/>
                    <a:pt x="151" y="89"/>
                  </a:cubicBezTo>
                  <a:cubicBezTo>
                    <a:pt x="141" y="41"/>
                    <a:pt x="119" y="17"/>
                    <a:pt x="84" y="17"/>
                  </a:cubicBezTo>
                  <a:cubicBezTo>
                    <a:pt x="71" y="17"/>
                    <a:pt x="61" y="21"/>
                    <a:pt x="53" y="28"/>
                  </a:cubicBezTo>
                  <a:cubicBezTo>
                    <a:pt x="45" y="36"/>
                    <a:pt x="41" y="46"/>
                    <a:pt x="41" y="57"/>
                  </a:cubicBezTo>
                  <a:cubicBezTo>
                    <a:pt x="41" y="70"/>
                    <a:pt x="46" y="80"/>
                    <a:pt x="58" y="88"/>
                  </a:cubicBezTo>
                  <a:cubicBezTo>
                    <a:pt x="63" y="92"/>
                    <a:pt x="74" y="96"/>
                    <a:pt x="88" y="101"/>
                  </a:cubicBezTo>
                  <a:cubicBezTo>
                    <a:pt x="120" y="111"/>
                    <a:pt x="142" y="120"/>
                    <a:pt x="152" y="128"/>
                  </a:cubicBezTo>
                  <a:cubicBezTo>
                    <a:pt x="173" y="144"/>
                    <a:pt x="184" y="165"/>
                    <a:pt x="184" y="191"/>
                  </a:cubicBezTo>
                  <a:cubicBezTo>
                    <a:pt x="184" y="217"/>
                    <a:pt x="175" y="238"/>
                    <a:pt x="156" y="255"/>
                  </a:cubicBezTo>
                  <a:cubicBezTo>
                    <a:pt x="141" y="269"/>
                    <a:pt x="121" y="275"/>
                    <a:pt x="98" y="275"/>
                  </a:cubicBezTo>
                  <a:cubicBezTo>
                    <a:pt x="84" y="275"/>
                    <a:pt x="71" y="273"/>
                    <a:pt x="59" y="268"/>
                  </a:cubicBezTo>
                  <a:cubicBezTo>
                    <a:pt x="55" y="266"/>
                    <a:pt x="46" y="262"/>
                    <a:pt x="33" y="254"/>
                  </a:cubicBezTo>
                  <a:cubicBezTo>
                    <a:pt x="31" y="253"/>
                    <a:pt x="28" y="252"/>
                    <a:pt x="26" y="252"/>
                  </a:cubicBezTo>
                  <a:cubicBezTo>
                    <a:pt x="23" y="252"/>
                    <a:pt x="19" y="258"/>
                    <a:pt x="16" y="270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172"/>
                    <a:pt x="0" y="172"/>
                    <a:pt x="0" y="172"/>
                  </a:cubicBezTo>
                  <a:cubicBezTo>
                    <a:pt x="16" y="172"/>
                    <a:pt x="16" y="172"/>
                    <a:pt x="16" y="172"/>
                  </a:cubicBezTo>
                  <a:cubicBezTo>
                    <a:pt x="22" y="196"/>
                    <a:pt x="29" y="214"/>
                    <a:pt x="37" y="224"/>
                  </a:cubicBezTo>
                  <a:cubicBezTo>
                    <a:pt x="44" y="234"/>
                    <a:pt x="52" y="242"/>
                    <a:pt x="63" y="248"/>
                  </a:cubicBezTo>
                  <a:cubicBezTo>
                    <a:pt x="74" y="254"/>
                    <a:pt x="85" y="257"/>
                    <a:pt x="97" y="257"/>
                  </a:cubicBezTo>
                  <a:cubicBezTo>
                    <a:pt x="112" y="257"/>
                    <a:pt x="123" y="252"/>
                    <a:pt x="131" y="242"/>
                  </a:cubicBezTo>
                  <a:cubicBezTo>
                    <a:pt x="139" y="233"/>
                    <a:pt x="144" y="222"/>
                    <a:pt x="144" y="210"/>
                  </a:cubicBezTo>
                  <a:cubicBezTo>
                    <a:pt x="144" y="193"/>
                    <a:pt x="136" y="179"/>
                    <a:pt x="120" y="170"/>
                  </a:cubicBezTo>
                  <a:cubicBezTo>
                    <a:pt x="112" y="164"/>
                    <a:pt x="95" y="158"/>
                    <a:pt x="69" y="149"/>
                  </a:cubicBezTo>
                  <a:cubicBezTo>
                    <a:pt x="52" y="144"/>
                    <a:pt x="39" y="137"/>
                    <a:pt x="28" y="128"/>
                  </a:cubicBezTo>
                  <a:cubicBezTo>
                    <a:pt x="11" y="115"/>
                    <a:pt x="2" y="97"/>
                    <a:pt x="2" y="72"/>
                  </a:cubicBezTo>
                  <a:cubicBezTo>
                    <a:pt x="2" y="50"/>
                    <a:pt x="10" y="32"/>
                    <a:pt x="26" y="19"/>
                  </a:cubicBezTo>
                  <a:cubicBezTo>
                    <a:pt x="40" y="6"/>
                    <a:pt x="58" y="0"/>
                    <a:pt x="80" y="0"/>
                  </a:cubicBezTo>
                  <a:cubicBezTo>
                    <a:pt x="99" y="0"/>
                    <a:pt x="117" y="5"/>
                    <a:pt x="134" y="16"/>
                  </a:cubicBezTo>
                  <a:cubicBezTo>
                    <a:pt x="138" y="18"/>
                    <a:pt x="140" y="19"/>
                    <a:pt x="142" y="19"/>
                  </a:cubicBezTo>
                  <a:cubicBezTo>
                    <a:pt x="146" y="19"/>
                    <a:pt x="149" y="14"/>
                    <a:pt x="151" y="6"/>
                  </a:cubicBezTo>
                  <a:lnTo>
                    <a:pt x="168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2" name="Freeform 17"/>
            <p:cNvSpPr>
              <a:spLocks/>
            </p:cNvSpPr>
            <p:nvPr userDrawn="1"/>
          </p:nvSpPr>
          <p:spPr bwMode="auto">
            <a:xfrm>
              <a:off x="9055100" y="6908800"/>
              <a:ext cx="109538" cy="111125"/>
            </a:xfrm>
            <a:custGeom>
              <a:avLst/>
              <a:gdLst>
                <a:gd name="T0" fmla="*/ 0 w 69"/>
                <a:gd name="T1" fmla="*/ 70 h 70"/>
                <a:gd name="T2" fmla="*/ 0 w 69"/>
                <a:gd name="T3" fmla="*/ 0 h 70"/>
                <a:gd name="T4" fmla="*/ 38 w 69"/>
                <a:gd name="T5" fmla="*/ 0 h 70"/>
                <a:gd name="T6" fmla="*/ 69 w 69"/>
                <a:gd name="T7" fmla="*/ 0 h 70"/>
                <a:gd name="T8" fmla="*/ 69 w 69"/>
                <a:gd name="T9" fmla="*/ 70 h 70"/>
                <a:gd name="T10" fmla="*/ 0 w 69"/>
                <a:gd name="T11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9" h="70">
                  <a:moveTo>
                    <a:pt x="0" y="70"/>
                  </a:moveTo>
                  <a:lnTo>
                    <a:pt x="0" y="0"/>
                  </a:lnTo>
                  <a:lnTo>
                    <a:pt x="38" y="0"/>
                  </a:lnTo>
                  <a:lnTo>
                    <a:pt x="69" y="0"/>
                  </a:lnTo>
                  <a:lnTo>
                    <a:pt x="69" y="70"/>
                  </a:lnTo>
                  <a:lnTo>
                    <a:pt x="0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31414655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horizontal transparent">
    <p:bg bwMode="ltGray"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Objekt 6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588" y="1588"/>
            <a:ext cx="1587" cy="1587"/>
          </a:xfrm>
          <a:prstGeom prst="rect">
            <a:avLst/>
          </a:prstGeom>
          <a:noFill/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black">
          <a:xfrm>
            <a:off x="360000" y="3780000"/>
            <a:ext cx="9359999" cy="1726587"/>
          </a:xfrm>
        </p:spPr>
        <p:txBody>
          <a:bodyPr tIns="144000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Headline Ultra </a:t>
            </a:r>
            <a:br>
              <a:rPr lang="en-US" dirty="0" smtClean="0"/>
            </a:br>
            <a:r>
              <a:rPr lang="en-US" dirty="0" smtClean="0"/>
              <a:t>(60) 75 90 PT</a:t>
            </a:r>
            <a:endParaRPr lang="en-US" dirty="0"/>
          </a:p>
        </p:txBody>
      </p:sp>
      <p:grpSp>
        <p:nvGrpSpPr>
          <p:cNvPr id="5" name="Gruppieren 4"/>
          <p:cNvGrpSpPr/>
          <p:nvPr userDrawn="1"/>
        </p:nvGrpSpPr>
        <p:grpSpPr>
          <a:xfrm>
            <a:off x="360363" y="6480175"/>
            <a:ext cx="5013325" cy="911226"/>
            <a:chOff x="360363" y="6480175"/>
            <a:chExt cx="5013325" cy="911226"/>
          </a:xfrm>
          <a:solidFill>
            <a:schemeClr val="bg1"/>
          </a:solidFill>
        </p:grpSpPr>
        <p:sp>
          <p:nvSpPr>
            <p:cNvPr id="6" name="Freeform 5"/>
            <p:cNvSpPr>
              <a:spLocks/>
            </p:cNvSpPr>
            <p:nvPr userDrawn="1"/>
          </p:nvSpPr>
          <p:spPr bwMode="auto">
            <a:xfrm>
              <a:off x="360363" y="6811963"/>
              <a:ext cx="146050" cy="147638"/>
            </a:xfrm>
            <a:custGeom>
              <a:avLst/>
              <a:gdLst>
                <a:gd name="T0" fmla="*/ 0 w 92"/>
                <a:gd name="T1" fmla="*/ 93 h 93"/>
                <a:gd name="T2" fmla="*/ 0 w 92"/>
                <a:gd name="T3" fmla="*/ 0 h 93"/>
                <a:gd name="T4" fmla="*/ 45 w 92"/>
                <a:gd name="T5" fmla="*/ 0 h 93"/>
                <a:gd name="T6" fmla="*/ 92 w 92"/>
                <a:gd name="T7" fmla="*/ 0 h 93"/>
                <a:gd name="T8" fmla="*/ 92 w 92"/>
                <a:gd name="T9" fmla="*/ 93 h 93"/>
                <a:gd name="T10" fmla="*/ 0 w 92"/>
                <a:gd name="T11" fmla="*/ 93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2" h="93">
                  <a:moveTo>
                    <a:pt x="0" y="93"/>
                  </a:moveTo>
                  <a:lnTo>
                    <a:pt x="0" y="0"/>
                  </a:lnTo>
                  <a:lnTo>
                    <a:pt x="45" y="0"/>
                  </a:lnTo>
                  <a:lnTo>
                    <a:pt x="92" y="0"/>
                  </a:lnTo>
                  <a:lnTo>
                    <a:pt x="92" y="93"/>
                  </a:lnTo>
                  <a:lnTo>
                    <a:pt x="0" y="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" name="Freeform 6"/>
            <p:cNvSpPr>
              <a:spLocks/>
            </p:cNvSpPr>
            <p:nvPr userDrawn="1"/>
          </p:nvSpPr>
          <p:spPr bwMode="auto">
            <a:xfrm>
              <a:off x="806451" y="6811963"/>
              <a:ext cx="144463" cy="147638"/>
            </a:xfrm>
            <a:custGeom>
              <a:avLst/>
              <a:gdLst>
                <a:gd name="T0" fmla="*/ 0 w 91"/>
                <a:gd name="T1" fmla="*/ 93 h 93"/>
                <a:gd name="T2" fmla="*/ 0 w 91"/>
                <a:gd name="T3" fmla="*/ 0 h 93"/>
                <a:gd name="T4" fmla="*/ 50 w 91"/>
                <a:gd name="T5" fmla="*/ 0 h 93"/>
                <a:gd name="T6" fmla="*/ 91 w 91"/>
                <a:gd name="T7" fmla="*/ 0 h 93"/>
                <a:gd name="T8" fmla="*/ 91 w 91"/>
                <a:gd name="T9" fmla="*/ 93 h 93"/>
                <a:gd name="T10" fmla="*/ 0 w 91"/>
                <a:gd name="T11" fmla="*/ 93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1" h="93">
                  <a:moveTo>
                    <a:pt x="0" y="93"/>
                  </a:moveTo>
                  <a:lnTo>
                    <a:pt x="0" y="0"/>
                  </a:lnTo>
                  <a:lnTo>
                    <a:pt x="50" y="0"/>
                  </a:lnTo>
                  <a:lnTo>
                    <a:pt x="91" y="0"/>
                  </a:lnTo>
                  <a:lnTo>
                    <a:pt x="91" y="93"/>
                  </a:lnTo>
                  <a:lnTo>
                    <a:pt x="0" y="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" name="Freeform 7"/>
            <p:cNvSpPr>
              <a:spLocks/>
            </p:cNvSpPr>
            <p:nvPr userDrawn="1"/>
          </p:nvSpPr>
          <p:spPr bwMode="auto">
            <a:xfrm>
              <a:off x="1244601" y="6811963"/>
              <a:ext cx="147638" cy="147638"/>
            </a:xfrm>
            <a:custGeom>
              <a:avLst/>
              <a:gdLst>
                <a:gd name="T0" fmla="*/ 0 w 93"/>
                <a:gd name="T1" fmla="*/ 93 h 93"/>
                <a:gd name="T2" fmla="*/ 0 w 93"/>
                <a:gd name="T3" fmla="*/ 0 h 93"/>
                <a:gd name="T4" fmla="*/ 47 w 93"/>
                <a:gd name="T5" fmla="*/ 0 h 93"/>
                <a:gd name="T6" fmla="*/ 93 w 93"/>
                <a:gd name="T7" fmla="*/ 0 h 93"/>
                <a:gd name="T8" fmla="*/ 93 w 93"/>
                <a:gd name="T9" fmla="*/ 93 h 93"/>
                <a:gd name="T10" fmla="*/ 0 w 93"/>
                <a:gd name="T11" fmla="*/ 93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3" h="93">
                  <a:moveTo>
                    <a:pt x="0" y="93"/>
                  </a:moveTo>
                  <a:lnTo>
                    <a:pt x="0" y="0"/>
                  </a:lnTo>
                  <a:lnTo>
                    <a:pt x="47" y="0"/>
                  </a:lnTo>
                  <a:lnTo>
                    <a:pt x="93" y="0"/>
                  </a:lnTo>
                  <a:lnTo>
                    <a:pt x="93" y="93"/>
                  </a:lnTo>
                  <a:lnTo>
                    <a:pt x="0" y="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" name="Freeform 8"/>
            <p:cNvSpPr>
              <a:spLocks/>
            </p:cNvSpPr>
            <p:nvPr userDrawn="1"/>
          </p:nvSpPr>
          <p:spPr bwMode="auto">
            <a:xfrm>
              <a:off x="1682751" y="6811963"/>
              <a:ext cx="147638" cy="147638"/>
            </a:xfrm>
            <a:custGeom>
              <a:avLst/>
              <a:gdLst>
                <a:gd name="T0" fmla="*/ 0 w 93"/>
                <a:gd name="T1" fmla="*/ 93 h 93"/>
                <a:gd name="T2" fmla="*/ 0 w 93"/>
                <a:gd name="T3" fmla="*/ 0 h 93"/>
                <a:gd name="T4" fmla="*/ 42 w 93"/>
                <a:gd name="T5" fmla="*/ 0 h 93"/>
                <a:gd name="T6" fmla="*/ 93 w 93"/>
                <a:gd name="T7" fmla="*/ 0 h 93"/>
                <a:gd name="T8" fmla="*/ 93 w 93"/>
                <a:gd name="T9" fmla="*/ 93 h 93"/>
                <a:gd name="T10" fmla="*/ 0 w 93"/>
                <a:gd name="T11" fmla="*/ 93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3" h="93">
                  <a:moveTo>
                    <a:pt x="0" y="93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93" y="0"/>
                  </a:lnTo>
                  <a:lnTo>
                    <a:pt x="93" y="93"/>
                  </a:lnTo>
                  <a:lnTo>
                    <a:pt x="0" y="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" name="Freeform 9"/>
            <p:cNvSpPr>
              <a:spLocks/>
            </p:cNvSpPr>
            <p:nvPr userDrawn="1"/>
          </p:nvSpPr>
          <p:spPr bwMode="auto">
            <a:xfrm>
              <a:off x="360363" y="6480175"/>
              <a:ext cx="590550" cy="723900"/>
            </a:xfrm>
            <a:custGeom>
              <a:avLst/>
              <a:gdLst>
                <a:gd name="T0" fmla="*/ 322 w 325"/>
                <a:gd name="T1" fmla="*/ 0 h 397"/>
                <a:gd name="T2" fmla="*/ 4 w 325"/>
                <a:gd name="T3" fmla="*/ 0 h 397"/>
                <a:gd name="T4" fmla="*/ 0 w 325"/>
                <a:gd name="T5" fmla="*/ 140 h 397"/>
                <a:gd name="T6" fmla="*/ 21 w 325"/>
                <a:gd name="T7" fmla="*/ 143 h 397"/>
                <a:gd name="T8" fmla="*/ 54 w 325"/>
                <a:gd name="T9" fmla="*/ 52 h 397"/>
                <a:gd name="T10" fmla="*/ 131 w 325"/>
                <a:gd name="T11" fmla="*/ 19 h 397"/>
                <a:gd name="T12" fmla="*/ 131 w 325"/>
                <a:gd name="T13" fmla="*/ 312 h 397"/>
                <a:gd name="T14" fmla="*/ 120 w 325"/>
                <a:gd name="T15" fmla="*/ 362 h 397"/>
                <a:gd name="T16" fmla="*/ 88 w 325"/>
                <a:gd name="T17" fmla="*/ 374 h 397"/>
                <a:gd name="T18" fmla="*/ 65 w 325"/>
                <a:gd name="T19" fmla="*/ 374 h 397"/>
                <a:gd name="T20" fmla="*/ 65 w 325"/>
                <a:gd name="T21" fmla="*/ 397 h 397"/>
                <a:gd name="T22" fmla="*/ 261 w 325"/>
                <a:gd name="T23" fmla="*/ 397 h 397"/>
                <a:gd name="T24" fmla="*/ 261 w 325"/>
                <a:gd name="T25" fmla="*/ 374 h 397"/>
                <a:gd name="T26" fmla="*/ 238 w 325"/>
                <a:gd name="T27" fmla="*/ 374 h 397"/>
                <a:gd name="T28" fmla="*/ 206 w 325"/>
                <a:gd name="T29" fmla="*/ 362 h 397"/>
                <a:gd name="T30" fmla="*/ 194 w 325"/>
                <a:gd name="T31" fmla="*/ 312 h 397"/>
                <a:gd name="T32" fmla="*/ 194 w 325"/>
                <a:gd name="T33" fmla="*/ 19 h 397"/>
                <a:gd name="T34" fmla="*/ 272 w 325"/>
                <a:gd name="T35" fmla="*/ 52 h 397"/>
                <a:gd name="T36" fmla="*/ 304 w 325"/>
                <a:gd name="T37" fmla="*/ 143 h 397"/>
                <a:gd name="T38" fmla="*/ 325 w 325"/>
                <a:gd name="T39" fmla="*/ 140 h 397"/>
                <a:gd name="T40" fmla="*/ 322 w 325"/>
                <a:gd name="T41" fmla="*/ 0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25" h="397">
                  <a:moveTo>
                    <a:pt x="322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21" y="143"/>
                    <a:pt x="21" y="143"/>
                    <a:pt x="21" y="143"/>
                  </a:cubicBezTo>
                  <a:cubicBezTo>
                    <a:pt x="25" y="102"/>
                    <a:pt x="36" y="72"/>
                    <a:pt x="54" y="52"/>
                  </a:cubicBezTo>
                  <a:cubicBezTo>
                    <a:pt x="72" y="31"/>
                    <a:pt x="98" y="20"/>
                    <a:pt x="131" y="19"/>
                  </a:cubicBezTo>
                  <a:cubicBezTo>
                    <a:pt x="131" y="312"/>
                    <a:pt x="131" y="312"/>
                    <a:pt x="131" y="312"/>
                  </a:cubicBezTo>
                  <a:cubicBezTo>
                    <a:pt x="131" y="337"/>
                    <a:pt x="127" y="354"/>
                    <a:pt x="120" y="362"/>
                  </a:cubicBezTo>
                  <a:cubicBezTo>
                    <a:pt x="114" y="368"/>
                    <a:pt x="103" y="372"/>
                    <a:pt x="88" y="374"/>
                  </a:cubicBezTo>
                  <a:cubicBezTo>
                    <a:pt x="83" y="374"/>
                    <a:pt x="76" y="374"/>
                    <a:pt x="65" y="374"/>
                  </a:cubicBezTo>
                  <a:cubicBezTo>
                    <a:pt x="65" y="397"/>
                    <a:pt x="65" y="397"/>
                    <a:pt x="65" y="397"/>
                  </a:cubicBezTo>
                  <a:cubicBezTo>
                    <a:pt x="261" y="397"/>
                    <a:pt x="261" y="397"/>
                    <a:pt x="261" y="397"/>
                  </a:cubicBezTo>
                  <a:cubicBezTo>
                    <a:pt x="261" y="374"/>
                    <a:pt x="261" y="374"/>
                    <a:pt x="261" y="374"/>
                  </a:cubicBezTo>
                  <a:cubicBezTo>
                    <a:pt x="250" y="374"/>
                    <a:pt x="242" y="374"/>
                    <a:pt x="238" y="374"/>
                  </a:cubicBezTo>
                  <a:cubicBezTo>
                    <a:pt x="223" y="372"/>
                    <a:pt x="212" y="368"/>
                    <a:pt x="206" y="362"/>
                  </a:cubicBezTo>
                  <a:cubicBezTo>
                    <a:pt x="198" y="354"/>
                    <a:pt x="194" y="337"/>
                    <a:pt x="194" y="312"/>
                  </a:cubicBezTo>
                  <a:cubicBezTo>
                    <a:pt x="194" y="19"/>
                    <a:pt x="194" y="19"/>
                    <a:pt x="194" y="19"/>
                  </a:cubicBezTo>
                  <a:cubicBezTo>
                    <a:pt x="228" y="20"/>
                    <a:pt x="253" y="31"/>
                    <a:pt x="272" y="52"/>
                  </a:cubicBezTo>
                  <a:cubicBezTo>
                    <a:pt x="290" y="72"/>
                    <a:pt x="301" y="102"/>
                    <a:pt x="304" y="143"/>
                  </a:cubicBezTo>
                  <a:cubicBezTo>
                    <a:pt x="325" y="140"/>
                    <a:pt x="325" y="140"/>
                    <a:pt x="325" y="140"/>
                  </a:cubicBezTo>
                  <a:lnTo>
                    <a:pt x="32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" name="Freeform 10"/>
            <p:cNvSpPr>
              <a:spLocks/>
            </p:cNvSpPr>
            <p:nvPr userDrawn="1"/>
          </p:nvSpPr>
          <p:spPr bwMode="auto">
            <a:xfrm>
              <a:off x="1957388" y="6491288"/>
              <a:ext cx="433388" cy="728663"/>
            </a:xfrm>
            <a:custGeom>
              <a:avLst/>
              <a:gdLst>
                <a:gd name="T0" fmla="*/ 202 w 239"/>
                <a:gd name="T1" fmla="*/ 134 h 400"/>
                <a:gd name="T2" fmla="*/ 175 w 239"/>
                <a:gd name="T3" fmla="*/ 59 h 400"/>
                <a:gd name="T4" fmla="*/ 108 w 239"/>
                <a:gd name="T5" fmla="*/ 20 h 400"/>
                <a:gd name="T6" fmla="*/ 66 w 239"/>
                <a:gd name="T7" fmla="*/ 35 h 400"/>
                <a:gd name="T8" fmla="*/ 45 w 239"/>
                <a:gd name="T9" fmla="*/ 84 h 400"/>
                <a:gd name="T10" fmla="*/ 68 w 239"/>
                <a:gd name="T11" fmla="*/ 134 h 400"/>
                <a:gd name="T12" fmla="*/ 120 w 239"/>
                <a:gd name="T13" fmla="*/ 159 h 400"/>
                <a:gd name="T14" fmla="*/ 198 w 239"/>
                <a:gd name="T15" fmla="*/ 193 h 400"/>
                <a:gd name="T16" fmla="*/ 239 w 239"/>
                <a:gd name="T17" fmla="*/ 279 h 400"/>
                <a:gd name="T18" fmla="*/ 205 w 239"/>
                <a:gd name="T19" fmla="*/ 367 h 400"/>
                <a:gd name="T20" fmla="*/ 127 w 239"/>
                <a:gd name="T21" fmla="*/ 400 h 400"/>
                <a:gd name="T22" fmla="*/ 82 w 239"/>
                <a:gd name="T23" fmla="*/ 391 h 400"/>
                <a:gd name="T24" fmla="*/ 52 w 239"/>
                <a:gd name="T25" fmla="*/ 374 h 400"/>
                <a:gd name="T26" fmla="*/ 40 w 239"/>
                <a:gd name="T27" fmla="*/ 370 h 400"/>
                <a:gd name="T28" fmla="*/ 26 w 239"/>
                <a:gd name="T29" fmla="*/ 378 h 400"/>
                <a:gd name="T30" fmla="*/ 18 w 239"/>
                <a:gd name="T31" fmla="*/ 391 h 400"/>
                <a:gd name="T32" fmla="*/ 0 w 239"/>
                <a:gd name="T33" fmla="*/ 391 h 400"/>
                <a:gd name="T34" fmla="*/ 0 w 239"/>
                <a:gd name="T35" fmla="*/ 252 h 400"/>
                <a:gd name="T36" fmla="*/ 19 w 239"/>
                <a:gd name="T37" fmla="*/ 252 h 400"/>
                <a:gd name="T38" fmla="*/ 46 w 239"/>
                <a:gd name="T39" fmla="*/ 332 h 400"/>
                <a:gd name="T40" fmla="*/ 124 w 239"/>
                <a:gd name="T41" fmla="*/ 379 h 400"/>
                <a:gd name="T42" fmla="*/ 171 w 239"/>
                <a:gd name="T43" fmla="*/ 363 h 400"/>
                <a:gd name="T44" fmla="*/ 195 w 239"/>
                <a:gd name="T45" fmla="*/ 304 h 400"/>
                <a:gd name="T46" fmla="*/ 158 w 239"/>
                <a:gd name="T47" fmla="*/ 239 h 400"/>
                <a:gd name="T48" fmla="*/ 94 w 239"/>
                <a:gd name="T49" fmla="*/ 214 h 400"/>
                <a:gd name="T50" fmla="*/ 35 w 239"/>
                <a:gd name="T51" fmla="*/ 183 h 400"/>
                <a:gd name="T52" fmla="*/ 3 w 239"/>
                <a:gd name="T53" fmla="*/ 107 h 400"/>
                <a:gd name="T54" fmla="*/ 38 w 239"/>
                <a:gd name="T55" fmla="*/ 25 h 400"/>
                <a:gd name="T56" fmla="*/ 105 w 239"/>
                <a:gd name="T57" fmla="*/ 0 h 400"/>
                <a:gd name="T58" fmla="*/ 148 w 239"/>
                <a:gd name="T59" fmla="*/ 8 h 400"/>
                <a:gd name="T60" fmla="*/ 175 w 239"/>
                <a:gd name="T61" fmla="*/ 23 h 400"/>
                <a:gd name="T62" fmla="*/ 185 w 239"/>
                <a:gd name="T63" fmla="*/ 26 h 400"/>
                <a:gd name="T64" fmla="*/ 203 w 239"/>
                <a:gd name="T65" fmla="*/ 8 h 400"/>
                <a:gd name="T66" fmla="*/ 219 w 239"/>
                <a:gd name="T67" fmla="*/ 8 h 400"/>
                <a:gd name="T68" fmla="*/ 219 w 239"/>
                <a:gd name="T69" fmla="*/ 134 h 400"/>
                <a:gd name="T70" fmla="*/ 202 w 239"/>
                <a:gd name="T71" fmla="*/ 134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39" h="400">
                  <a:moveTo>
                    <a:pt x="202" y="134"/>
                  </a:moveTo>
                  <a:cubicBezTo>
                    <a:pt x="195" y="100"/>
                    <a:pt x="186" y="75"/>
                    <a:pt x="175" y="59"/>
                  </a:cubicBezTo>
                  <a:cubicBezTo>
                    <a:pt x="158" y="33"/>
                    <a:pt x="135" y="20"/>
                    <a:pt x="108" y="20"/>
                  </a:cubicBezTo>
                  <a:cubicBezTo>
                    <a:pt x="91" y="20"/>
                    <a:pt x="77" y="25"/>
                    <a:pt x="66" y="35"/>
                  </a:cubicBezTo>
                  <a:cubicBezTo>
                    <a:pt x="52" y="47"/>
                    <a:pt x="45" y="63"/>
                    <a:pt x="45" y="84"/>
                  </a:cubicBezTo>
                  <a:cubicBezTo>
                    <a:pt x="45" y="105"/>
                    <a:pt x="53" y="122"/>
                    <a:pt x="68" y="134"/>
                  </a:cubicBezTo>
                  <a:cubicBezTo>
                    <a:pt x="77" y="142"/>
                    <a:pt x="94" y="150"/>
                    <a:pt x="120" y="159"/>
                  </a:cubicBezTo>
                  <a:cubicBezTo>
                    <a:pt x="159" y="172"/>
                    <a:pt x="184" y="184"/>
                    <a:pt x="198" y="193"/>
                  </a:cubicBezTo>
                  <a:cubicBezTo>
                    <a:pt x="225" y="214"/>
                    <a:pt x="239" y="243"/>
                    <a:pt x="239" y="279"/>
                  </a:cubicBezTo>
                  <a:cubicBezTo>
                    <a:pt x="239" y="314"/>
                    <a:pt x="228" y="344"/>
                    <a:pt x="205" y="367"/>
                  </a:cubicBezTo>
                  <a:cubicBezTo>
                    <a:pt x="184" y="389"/>
                    <a:pt x="158" y="400"/>
                    <a:pt x="127" y="400"/>
                  </a:cubicBezTo>
                  <a:cubicBezTo>
                    <a:pt x="111" y="400"/>
                    <a:pt x="96" y="397"/>
                    <a:pt x="82" y="391"/>
                  </a:cubicBezTo>
                  <a:cubicBezTo>
                    <a:pt x="76" y="388"/>
                    <a:pt x="66" y="383"/>
                    <a:pt x="52" y="374"/>
                  </a:cubicBezTo>
                  <a:cubicBezTo>
                    <a:pt x="48" y="372"/>
                    <a:pt x="44" y="370"/>
                    <a:pt x="40" y="370"/>
                  </a:cubicBezTo>
                  <a:cubicBezTo>
                    <a:pt x="34" y="370"/>
                    <a:pt x="30" y="373"/>
                    <a:pt x="26" y="378"/>
                  </a:cubicBezTo>
                  <a:cubicBezTo>
                    <a:pt x="24" y="381"/>
                    <a:pt x="21" y="385"/>
                    <a:pt x="18" y="391"/>
                  </a:cubicBezTo>
                  <a:cubicBezTo>
                    <a:pt x="0" y="391"/>
                    <a:pt x="0" y="391"/>
                    <a:pt x="0" y="391"/>
                  </a:cubicBezTo>
                  <a:cubicBezTo>
                    <a:pt x="0" y="252"/>
                    <a:pt x="0" y="252"/>
                    <a:pt x="0" y="252"/>
                  </a:cubicBezTo>
                  <a:cubicBezTo>
                    <a:pt x="19" y="252"/>
                    <a:pt x="19" y="252"/>
                    <a:pt x="19" y="252"/>
                  </a:cubicBezTo>
                  <a:cubicBezTo>
                    <a:pt x="25" y="287"/>
                    <a:pt x="35" y="314"/>
                    <a:pt x="46" y="332"/>
                  </a:cubicBezTo>
                  <a:cubicBezTo>
                    <a:pt x="66" y="364"/>
                    <a:pt x="92" y="379"/>
                    <a:pt x="124" y="379"/>
                  </a:cubicBezTo>
                  <a:cubicBezTo>
                    <a:pt x="143" y="379"/>
                    <a:pt x="159" y="374"/>
                    <a:pt x="171" y="363"/>
                  </a:cubicBezTo>
                  <a:cubicBezTo>
                    <a:pt x="187" y="348"/>
                    <a:pt x="195" y="329"/>
                    <a:pt x="195" y="304"/>
                  </a:cubicBezTo>
                  <a:cubicBezTo>
                    <a:pt x="195" y="275"/>
                    <a:pt x="183" y="253"/>
                    <a:pt x="158" y="239"/>
                  </a:cubicBezTo>
                  <a:cubicBezTo>
                    <a:pt x="150" y="234"/>
                    <a:pt x="129" y="226"/>
                    <a:pt x="94" y="214"/>
                  </a:cubicBezTo>
                  <a:cubicBezTo>
                    <a:pt x="69" y="206"/>
                    <a:pt x="49" y="195"/>
                    <a:pt x="35" y="183"/>
                  </a:cubicBezTo>
                  <a:cubicBezTo>
                    <a:pt x="14" y="164"/>
                    <a:pt x="3" y="139"/>
                    <a:pt x="3" y="107"/>
                  </a:cubicBezTo>
                  <a:cubicBezTo>
                    <a:pt x="3" y="72"/>
                    <a:pt x="15" y="45"/>
                    <a:pt x="38" y="25"/>
                  </a:cubicBezTo>
                  <a:cubicBezTo>
                    <a:pt x="56" y="8"/>
                    <a:pt x="79" y="0"/>
                    <a:pt x="105" y="0"/>
                  </a:cubicBezTo>
                  <a:cubicBezTo>
                    <a:pt x="119" y="0"/>
                    <a:pt x="134" y="2"/>
                    <a:pt x="148" y="8"/>
                  </a:cubicBezTo>
                  <a:cubicBezTo>
                    <a:pt x="153" y="10"/>
                    <a:pt x="162" y="15"/>
                    <a:pt x="175" y="23"/>
                  </a:cubicBezTo>
                  <a:cubicBezTo>
                    <a:pt x="179" y="25"/>
                    <a:pt x="182" y="26"/>
                    <a:pt x="185" y="26"/>
                  </a:cubicBezTo>
                  <a:cubicBezTo>
                    <a:pt x="191" y="26"/>
                    <a:pt x="197" y="20"/>
                    <a:pt x="203" y="8"/>
                  </a:cubicBezTo>
                  <a:cubicBezTo>
                    <a:pt x="219" y="8"/>
                    <a:pt x="219" y="8"/>
                    <a:pt x="219" y="8"/>
                  </a:cubicBezTo>
                  <a:cubicBezTo>
                    <a:pt x="219" y="134"/>
                    <a:pt x="219" y="134"/>
                    <a:pt x="219" y="134"/>
                  </a:cubicBezTo>
                  <a:lnTo>
                    <a:pt x="202" y="1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" name="Freeform 11"/>
            <p:cNvSpPr>
              <a:spLocks/>
            </p:cNvSpPr>
            <p:nvPr userDrawn="1"/>
          </p:nvSpPr>
          <p:spPr bwMode="auto">
            <a:xfrm>
              <a:off x="2420938" y="6723063"/>
              <a:ext cx="468313" cy="668338"/>
            </a:xfrm>
            <a:custGeom>
              <a:avLst/>
              <a:gdLst>
                <a:gd name="T0" fmla="*/ 0 w 258"/>
                <a:gd name="T1" fmla="*/ 0 h 367"/>
                <a:gd name="T2" fmla="*/ 119 w 258"/>
                <a:gd name="T3" fmla="*/ 0 h 367"/>
                <a:gd name="T4" fmla="*/ 119 w 258"/>
                <a:gd name="T5" fmla="*/ 18 h 367"/>
                <a:gd name="T6" fmla="*/ 109 w 258"/>
                <a:gd name="T7" fmla="*/ 18 h 367"/>
                <a:gd name="T8" fmla="*/ 86 w 258"/>
                <a:gd name="T9" fmla="*/ 30 h 367"/>
                <a:gd name="T10" fmla="*/ 90 w 258"/>
                <a:gd name="T11" fmla="*/ 46 h 367"/>
                <a:gd name="T12" fmla="*/ 147 w 258"/>
                <a:gd name="T13" fmla="*/ 196 h 367"/>
                <a:gd name="T14" fmla="*/ 197 w 258"/>
                <a:gd name="T15" fmla="*/ 57 h 367"/>
                <a:gd name="T16" fmla="*/ 202 w 258"/>
                <a:gd name="T17" fmla="*/ 34 h 367"/>
                <a:gd name="T18" fmla="*/ 177 w 258"/>
                <a:gd name="T19" fmla="*/ 18 h 367"/>
                <a:gd name="T20" fmla="*/ 164 w 258"/>
                <a:gd name="T21" fmla="*/ 18 h 367"/>
                <a:gd name="T22" fmla="*/ 164 w 258"/>
                <a:gd name="T23" fmla="*/ 0 h 367"/>
                <a:gd name="T24" fmla="*/ 258 w 258"/>
                <a:gd name="T25" fmla="*/ 0 h 367"/>
                <a:gd name="T26" fmla="*/ 258 w 258"/>
                <a:gd name="T27" fmla="*/ 18 h 367"/>
                <a:gd name="T28" fmla="*/ 252 w 258"/>
                <a:gd name="T29" fmla="*/ 18 h 367"/>
                <a:gd name="T30" fmla="*/ 235 w 258"/>
                <a:gd name="T31" fmla="*/ 26 h 367"/>
                <a:gd name="T32" fmla="*/ 226 w 258"/>
                <a:gd name="T33" fmla="*/ 44 h 367"/>
                <a:gd name="T34" fmla="*/ 131 w 258"/>
                <a:gd name="T35" fmla="*/ 299 h 367"/>
                <a:gd name="T36" fmla="*/ 101 w 258"/>
                <a:gd name="T37" fmla="*/ 351 h 367"/>
                <a:gd name="T38" fmla="*/ 60 w 258"/>
                <a:gd name="T39" fmla="*/ 367 h 367"/>
                <a:gd name="T40" fmla="*/ 25 w 258"/>
                <a:gd name="T41" fmla="*/ 355 h 367"/>
                <a:gd name="T42" fmla="*/ 7 w 258"/>
                <a:gd name="T43" fmla="*/ 318 h 367"/>
                <a:gd name="T44" fmla="*/ 15 w 258"/>
                <a:gd name="T45" fmla="*/ 295 h 367"/>
                <a:gd name="T46" fmla="*/ 38 w 258"/>
                <a:gd name="T47" fmla="*/ 285 h 367"/>
                <a:gd name="T48" fmla="*/ 62 w 258"/>
                <a:gd name="T49" fmla="*/ 296 h 367"/>
                <a:gd name="T50" fmla="*/ 67 w 258"/>
                <a:gd name="T51" fmla="*/ 313 h 367"/>
                <a:gd name="T52" fmla="*/ 58 w 258"/>
                <a:gd name="T53" fmla="*/ 334 h 367"/>
                <a:gd name="T54" fmla="*/ 43 w 258"/>
                <a:gd name="T55" fmla="*/ 341 h 367"/>
                <a:gd name="T56" fmla="*/ 61 w 258"/>
                <a:gd name="T57" fmla="*/ 348 h 367"/>
                <a:gd name="T58" fmla="*/ 90 w 258"/>
                <a:gd name="T59" fmla="*/ 335 h 367"/>
                <a:gd name="T60" fmla="*/ 115 w 258"/>
                <a:gd name="T61" fmla="*/ 284 h 367"/>
                <a:gd name="T62" fmla="*/ 121 w 258"/>
                <a:gd name="T63" fmla="*/ 266 h 367"/>
                <a:gd name="T64" fmla="*/ 42 w 258"/>
                <a:gd name="T65" fmla="*/ 55 h 367"/>
                <a:gd name="T66" fmla="*/ 27 w 258"/>
                <a:gd name="T67" fmla="*/ 24 h 367"/>
                <a:gd name="T68" fmla="*/ 4 w 258"/>
                <a:gd name="T69" fmla="*/ 18 h 367"/>
                <a:gd name="T70" fmla="*/ 0 w 258"/>
                <a:gd name="T71" fmla="*/ 18 h 367"/>
                <a:gd name="T72" fmla="*/ 0 w 258"/>
                <a:gd name="T73" fmla="*/ 0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58" h="367">
                  <a:moveTo>
                    <a:pt x="0" y="0"/>
                  </a:moveTo>
                  <a:cubicBezTo>
                    <a:pt x="119" y="0"/>
                    <a:pt x="119" y="0"/>
                    <a:pt x="119" y="0"/>
                  </a:cubicBezTo>
                  <a:cubicBezTo>
                    <a:pt x="119" y="18"/>
                    <a:pt x="119" y="18"/>
                    <a:pt x="119" y="18"/>
                  </a:cubicBezTo>
                  <a:cubicBezTo>
                    <a:pt x="109" y="18"/>
                    <a:pt x="109" y="18"/>
                    <a:pt x="109" y="18"/>
                  </a:cubicBezTo>
                  <a:cubicBezTo>
                    <a:pt x="93" y="18"/>
                    <a:pt x="86" y="22"/>
                    <a:pt x="86" y="30"/>
                  </a:cubicBezTo>
                  <a:cubicBezTo>
                    <a:pt x="86" y="34"/>
                    <a:pt x="87" y="39"/>
                    <a:pt x="90" y="46"/>
                  </a:cubicBezTo>
                  <a:cubicBezTo>
                    <a:pt x="147" y="196"/>
                    <a:pt x="147" y="196"/>
                    <a:pt x="147" y="196"/>
                  </a:cubicBezTo>
                  <a:cubicBezTo>
                    <a:pt x="197" y="57"/>
                    <a:pt x="197" y="57"/>
                    <a:pt x="197" y="57"/>
                  </a:cubicBezTo>
                  <a:cubicBezTo>
                    <a:pt x="200" y="47"/>
                    <a:pt x="202" y="39"/>
                    <a:pt x="202" y="34"/>
                  </a:cubicBezTo>
                  <a:cubicBezTo>
                    <a:pt x="202" y="23"/>
                    <a:pt x="194" y="18"/>
                    <a:pt x="177" y="18"/>
                  </a:cubicBezTo>
                  <a:cubicBezTo>
                    <a:pt x="164" y="18"/>
                    <a:pt x="164" y="18"/>
                    <a:pt x="164" y="18"/>
                  </a:cubicBezTo>
                  <a:cubicBezTo>
                    <a:pt x="164" y="0"/>
                    <a:pt x="164" y="0"/>
                    <a:pt x="164" y="0"/>
                  </a:cubicBezTo>
                  <a:cubicBezTo>
                    <a:pt x="258" y="0"/>
                    <a:pt x="258" y="0"/>
                    <a:pt x="258" y="0"/>
                  </a:cubicBezTo>
                  <a:cubicBezTo>
                    <a:pt x="258" y="18"/>
                    <a:pt x="258" y="18"/>
                    <a:pt x="258" y="18"/>
                  </a:cubicBezTo>
                  <a:cubicBezTo>
                    <a:pt x="252" y="18"/>
                    <a:pt x="252" y="18"/>
                    <a:pt x="252" y="18"/>
                  </a:cubicBezTo>
                  <a:cubicBezTo>
                    <a:pt x="245" y="18"/>
                    <a:pt x="240" y="20"/>
                    <a:pt x="235" y="26"/>
                  </a:cubicBezTo>
                  <a:cubicBezTo>
                    <a:pt x="232" y="29"/>
                    <a:pt x="229" y="36"/>
                    <a:pt x="226" y="44"/>
                  </a:cubicBezTo>
                  <a:cubicBezTo>
                    <a:pt x="131" y="299"/>
                    <a:pt x="131" y="299"/>
                    <a:pt x="131" y="299"/>
                  </a:cubicBezTo>
                  <a:cubicBezTo>
                    <a:pt x="122" y="323"/>
                    <a:pt x="112" y="340"/>
                    <a:pt x="101" y="351"/>
                  </a:cubicBezTo>
                  <a:cubicBezTo>
                    <a:pt x="90" y="362"/>
                    <a:pt x="76" y="367"/>
                    <a:pt x="60" y="367"/>
                  </a:cubicBezTo>
                  <a:cubicBezTo>
                    <a:pt x="46" y="367"/>
                    <a:pt x="34" y="363"/>
                    <a:pt x="25" y="355"/>
                  </a:cubicBezTo>
                  <a:cubicBezTo>
                    <a:pt x="13" y="345"/>
                    <a:pt x="7" y="333"/>
                    <a:pt x="7" y="318"/>
                  </a:cubicBezTo>
                  <a:cubicBezTo>
                    <a:pt x="7" y="309"/>
                    <a:pt x="10" y="301"/>
                    <a:pt x="15" y="295"/>
                  </a:cubicBezTo>
                  <a:cubicBezTo>
                    <a:pt x="21" y="288"/>
                    <a:pt x="28" y="285"/>
                    <a:pt x="38" y="285"/>
                  </a:cubicBezTo>
                  <a:cubicBezTo>
                    <a:pt x="49" y="285"/>
                    <a:pt x="57" y="289"/>
                    <a:pt x="62" y="296"/>
                  </a:cubicBezTo>
                  <a:cubicBezTo>
                    <a:pt x="66" y="301"/>
                    <a:pt x="67" y="306"/>
                    <a:pt x="67" y="313"/>
                  </a:cubicBezTo>
                  <a:cubicBezTo>
                    <a:pt x="67" y="321"/>
                    <a:pt x="64" y="328"/>
                    <a:pt x="58" y="334"/>
                  </a:cubicBezTo>
                  <a:cubicBezTo>
                    <a:pt x="54" y="337"/>
                    <a:pt x="49" y="340"/>
                    <a:pt x="43" y="341"/>
                  </a:cubicBezTo>
                  <a:cubicBezTo>
                    <a:pt x="48" y="345"/>
                    <a:pt x="53" y="348"/>
                    <a:pt x="61" y="348"/>
                  </a:cubicBezTo>
                  <a:cubicBezTo>
                    <a:pt x="72" y="348"/>
                    <a:pt x="82" y="343"/>
                    <a:pt x="90" y="335"/>
                  </a:cubicBezTo>
                  <a:cubicBezTo>
                    <a:pt x="97" y="327"/>
                    <a:pt x="106" y="310"/>
                    <a:pt x="115" y="284"/>
                  </a:cubicBezTo>
                  <a:cubicBezTo>
                    <a:pt x="121" y="266"/>
                    <a:pt x="121" y="266"/>
                    <a:pt x="121" y="266"/>
                  </a:cubicBezTo>
                  <a:cubicBezTo>
                    <a:pt x="42" y="55"/>
                    <a:pt x="42" y="55"/>
                    <a:pt x="42" y="55"/>
                  </a:cubicBezTo>
                  <a:cubicBezTo>
                    <a:pt x="36" y="38"/>
                    <a:pt x="31" y="28"/>
                    <a:pt x="27" y="24"/>
                  </a:cubicBezTo>
                  <a:cubicBezTo>
                    <a:pt x="21" y="20"/>
                    <a:pt x="14" y="18"/>
                    <a:pt x="4" y="18"/>
                  </a:cubicBezTo>
                  <a:cubicBezTo>
                    <a:pt x="0" y="18"/>
                    <a:pt x="0" y="18"/>
                    <a:pt x="0" y="18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" name="Freeform 12"/>
            <p:cNvSpPr>
              <a:spLocks/>
            </p:cNvSpPr>
            <p:nvPr userDrawn="1"/>
          </p:nvSpPr>
          <p:spPr bwMode="auto">
            <a:xfrm>
              <a:off x="2897188" y="6711950"/>
              <a:ext cx="334963" cy="500063"/>
            </a:xfrm>
            <a:custGeom>
              <a:avLst/>
              <a:gdLst>
                <a:gd name="T0" fmla="*/ 168 w 184"/>
                <a:gd name="T1" fmla="*/ 6 h 275"/>
                <a:gd name="T2" fmla="*/ 168 w 184"/>
                <a:gd name="T3" fmla="*/ 89 h 275"/>
                <a:gd name="T4" fmla="*/ 151 w 184"/>
                <a:gd name="T5" fmla="*/ 89 h 275"/>
                <a:gd name="T6" fmla="*/ 84 w 184"/>
                <a:gd name="T7" fmla="*/ 17 h 275"/>
                <a:gd name="T8" fmla="*/ 53 w 184"/>
                <a:gd name="T9" fmla="*/ 28 h 275"/>
                <a:gd name="T10" fmla="*/ 41 w 184"/>
                <a:gd name="T11" fmla="*/ 57 h 275"/>
                <a:gd name="T12" fmla="*/ 58 w 184"/>
                <a:gd name="T13" fmla="*/ 88 h 275"/>
                <a:gd name="T14" fmla="*/ 89 w 184"/>
                <a:gd name="T15" fmla="*/ 101 h 275"/>
                <a:gd name="T16" fmla="*/ 152 w 184"/>
                <a:gd name="T17" fmla="*/ 128 h 275"/>
                <a:gd name="T18" fmla="*/ 184 w 184"/>
                <a:gd name="T19" fmla="*/ 191 h 275"/>
                <a:gd name="T20" fmla="*/ 157 w 184"/>
                <a:gd name="T21" fmla="*/ 255 h 275"/>
                <a:gd name="T22" fmla="*/ 98 w 184"/>
                <a:gd name="T23" fmla="*/ 275 h 275"/>
                <a:gd name="T24" fmla="*/ 60 w 184"/>
                <a:gd name="T25" fmla="*/ 268 h 275"/>
                <a:gd name="T26" fmla="*/ 34 w 184"/>
                <a:gd name="T27" fmla="*/ 254 h 275"/>
                <a:gd name="T28" fmla="*/ 26 w 184"/>
                <a:gd name="T29" fmla="*/ 252 h 275"/>
                <a:gd name="T30" fmla="*/ 16 w 184"/>
                <a:gd name="T31" fmla="*/ 270 h 275"/>
                <a:gd name="T32" fmla="*/ 0 w 184"/>
                <a:gd name="T33" fmla="*/ 270 h 275"/>
                <a:gd name="T34" fmla="*/ 0 w 184"/>
                <a:gd name="T35" fmla="*/ 172 h 275"/>
                <a:gd name="T36" fmla="*/ 16 w 184"/>
                <a:gd name="T37" fmla="*/ 172 h 275"/>
                <a:gd name="T38" fmla="*/ 37 w 184"/>
                <a:gd name="T39" fmla="*/ 224 h 275"/>
                <a:gd name="T40" fmla="*/ 63 w 184"/>
                <a:gd name="T41" fmla="*/ 248 h 275"/>
                <a:gd name="T42" fmla="*/ 97 w 184"/>
                <a:gd name="T43" fmla="*/ 257 h 275"/>
                <a:gd name="T44" fmla="*/ 132 w 184"/>
                <a:gd name="T45" fmla="*/ 242 h 275"/>
                <a:gd name="T46" fmla="*/ 144 w 184"/>
                <a:gd name="T47" fmla="*/ 210 h 275"/>
                <a:gd name="T48" fmla="*/ 120 w 184"/>
                <a:gd name="T49" fmla="*/ 170 h 275"/>
                <a:gd name="T50" fmla="*/ 70 w 184"/>
                <a:gd name="T51" fmla="*/ 149 h 275"/>
                <a:gd name="T52" fmla="*/ 28 w 184"/>
                <a:gd name="T53" fmla="*/ 128 h 275"/>
                <a:gd name="T54" fmla="*/ 3 w 184"/>
                <a:gd name="T55" fmla="*/ 72 h 275"/>
                <a:gd name="T56" fmla="*/ 26 w 184"/>
                <a:gd name="T57" fmla="*/ 19 h 275"/>
                <a:gd name="T58" fmla="*/ 80 w 184"/>
                <a:gd name="T59" fmla="*/ 0 h 275"/>
                <a:gd name="T60" fmla="*/ 134 w 184"/>
                <a:gd name="T61" fmla="*/ 16 h 275"/>
                <a:gd name="T62" fmla="*/ 143 w 184"/>
                <a:gd name="T63" fmla="*/ 19 h 275"/>
                <a:gd name="T64" fmla="*/ 151 w 184"/>
                <a:gd name="T65" fmla="*/ 6 h 275"/>
                <a:gd name="T66" fmla="*/ 168 w 184"/>
                <a:gd name="T67" fmla="*/ 6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84" h="275">
                  <a:moveTo>
                    <a:pt x="168" y="6"/>
                  </a:moveTo>
                  <a:cubicBezTo>
                    <a:pt x="168" y="89"/>
                    <a:pt x="168" y="89"/>
                    <a:pt x="168" y="89"/>
                  </a:cubicBezTo>
                  <a:cubicBezTo>
                    <a:pt x="151" y="89"/>
                    <a:pt x="151" y="89"/>
                    <a:pt x="151" y="89"/>
                  </a:cubicBezTo>
                  <a:cubicBezTo>
                    <a:pt x="142" y="41"/>
                    <a:pt x="119" y="17"/>
                    <a:pt x="84" y="17"/>
                  </a:cubicBezTo>
                  <a:cubicBezTo>
                    <a:pt x="71" y="17"/>
                    <a:pt x="61" y="21"/>
                    <a:pt x="53" y="28"/>
                  </a:cubicBezTo>
                  <a:cubicBezTo>
                    <a:pt x="45" y="36"/>
                    <a:pt x="41" y="46"/>
                    <a:pt x="41" y="57"/>
                  </a:cubicBezTo>
                  <a:cubicBezTo>
                    <a:pt x="41" y="70"/>
                    <a:pt x="47" y="80"/>
                    <a:pt x="58" y="88"/>
                  </a:cubicBezTo>
                  <a:cubicBezTo>
                    <a:pt x="64" y="92"/>
                    <a:pt x="74" y="96"/>
                    <a:pt x="89" y="101"/>
                  </a:cubicBezTo>
                  <a:cubicBezTo>
                    <a:pt x="120" y="111"/>
                    <a:pt x="142" y="120"/>
                    <a:pt x="152" y="128"/>
                  </a:cubicBezTo>
                  <a:cubicBezTo>
                    <a:pt x="173" y="144"/>
                    <a:pt x="184" y="165"/>
                    <a:pt x="184" y="191"/>
                  </a:cubicBezTo>
                  <a:cubicBezTo>
                    <a:pt x="184" y="217"/>
                    <a:pt x="175" y="238"/>
                    <a:pt x="157" y="255"/>
                  </a:cubicBezTo>
                  <a:cubicBezTo>
                    <a:pt x="141" y="269"/>
                    <a:pt x="122" y="275"/>
                    <a:pt x="98" y="275"/>
                  </a:cubicBezTo>
                  <a:cubicBezTo>
                    <a:pt x="84" y="275"/>
                    <a:pt x="71" y="273"/>
                    <a:pt x="60" y="268"/>
                  </a:cubicBezTo>
                  <a:cubicBezTo>
                    <a:pt x="55" y="266"/>
                    <a:pt x="46" y="262"/>
                    <a:pt x="34" y="254"/>
                  </a:cubicBezTo>
                  <a:cubicBezTo>
                    <a:pt x="31" y="253"/>
                    <a:pt x="28" y="252"/>
                    <a:pt x="26" y="252"/>
                  </a:cubicBezTo>
                  <a:cubicBezTo>
                    <a:pt x="23" y="252"/>
                    <a:pt x="19" y="258"/>
                    <a:pt x="16" y="270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172"/>
                    <a:pt x="0" y="172"/>
                    <a:pt x="0" y="172"/>
                  </a:cubicBezTo>
                  <a:cubicBezTo>
                    <a:pt x="16" y="172"/>
                    <a:pt x="16" y="172"/>
                    <a:pt x="16" y="172"/>
                  </a:cubicBezTo>
                  <a:cubicBezTo>
                    <a:pt x="23" y="196"/>
                    <a:pt x="30" y="214"/>
                    <a:pt x="37" y="224"/>
                  </a:cubicBezTo>
                  <a:cubicBezTo>
                    <a:pt x="44" y="234"/>
                    <a:pt x="53" y="242"/>
                    <a:pt x="63" y="248"/>
                  </a:cubicBezTo>
                  <a:cubicBezTo>
                    <a:pt x="74" y="254"/>
                    <a:pt x="85" y="257"/>
                    <a:pt x="97" y="257"/>
                  </a:cubicBezTo>
                  <a:cubicBezTo>
                    <a:pt x="112" y="257"/>
                    <a:pt x="123" y="252"/>
                    <a:pt x="132" y="242"/>
                  </a:cubicBezTo>
                  <a:cubicBezTo>
                    <a:pt x="140" y="233"/>
                    <a:pt x="144" y="222"/>
                    <a:pt x="144" y="210"/>
                  </a:cubicBezTo>
                  <a:cubicBezTo>
                    <a:pt x="144" y="193"/>
                    <a:pt x="136" y="179"/>
                    <a:pt x="120" y="170"/>
                  </a:cubicBezTo>
                  <a:cubicBezTo>
                    <a:pt x="112" y="164"/>
                    <a:pt x="95" y="158"/>
                    <a:pt x="70" y="149"/>
                  </a:cubicBezTo>
                  <a:cubicBezTo>
                    <a:pt x="53" y="144"/>
                    <a:pt x="39" y="137"/>
                    <a:pt x="28" y="128"/>
                  </a:cubicBezTo>
                  <a:cubicBezTo>
                    <a:pt x="11" y="115"/>
                    <a:pt x="3" y="97"/>
                    <a:pt x="3" y="72"/>
                  </a:cubicBezTo>
                  <a:cubicBezTo>
                    <a:pt x="3" y="50"/>
                    <a:pt x="10" y="32"/>
                    <a:pt x="26" y="19"/>
                  </a:cubicBezTo>
                  <a:cubicBezTo>
                    <a:pt x="40" y="6"/>
                    <a:pt x="58" y="0"/>
                    <a:pt x="80" y="0"/>
                  </a:cubicBezTo>
                  <a:cubicBezTo>
                    <a:pt x="99" y="0"/>
                    <a:pt x="117" y="5"/>
                    <a:pt x="134" y="16"/>
                  </a:cubicBezTo>
                  <a:cubicBezTo>
                    <a:pt x="138" y="18"/>
                    <a:pt x="141" y="19"/>
                    <a:pt x="143" y="19"/>
                  </a:cubicBezTo>
                  <a:cubicBezTo>
                    <a:pt x="146" y="19"/>
                    <a:pt x="149" y="14"/>
                    <a:pt x="151" y="6"/>
                  </a:cubicBezTo>
                  <a:lnTo>
                    <a:pt x="168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5" name="Freeform 13"/>
            <p:cNvSpPr>
              <a:spLocks/>
            </p:cNvSpPr>
            <p:nvPr userDrawn="1"/>
          </p:nvSpPr>
          <p:spPr bwMode="auto">
            <a:xfrm>
              <a:off x="3244851" y="6540500"/>
              <a:ext cx="319088" cy="671513"/>
            </a:xfrm>
            <a:custGeom>
              <a:avLst/>
              <a:gdLst>
                <a:gd name="T0" fmla="*/ 90 w 176"/>
                <a:gd name="T1" fmla="*/ 119 h 369"/>
                <a:gd name="T2" fmla="*/ 90 w 176"/>
                <a:gd name="T3" fmla="*/ 278 h 369"/>
                <a:gd name="T4" fmla="*/ 94 w 176"/>
                <a:gd name="T5" fmla="*/ 323 h 369"/>
                <a:gd name="T6" fmla="*/ 122 w 176"/>
                <a:gd name="T7" fmla="*/ 345 h 369"/>
                <a:gd name="T8" fmla="*/ 149 w 176"/>
                <a:gd name="T9" fmla="*/ 326 h 369"/>
                <a:gd name="T10" fmla="*/ 157 w 176"/>
                <a:gd name="T11" fmla="*/ 281 h 369"/>
                <a:gd name="T12" fmla="*/ 157 w 176"/>
                <a:gd name="T13" fmla="*/ 273 h 369"/>
                <a:gd name="T14" fmla="*/ 176 w 176"/>
                <a:gd name="T15" fmla="*/ 273 h 369"/>
                <a:gd name="T16" fmla="*/ 176 w 176"/>
                <a:gd name="T17" fmla="*/ 284 h 369"/>
                <a:gd name="T18" fmla="*/ 159 w 176"/>
                <a:gd name="T19" fmla="*/ 347 h 369"/>
                <a:gd name="T20" fmla="*/ 108 w 176"/>
                <a:gd name="T21" fmla="*/ 369 h 369"/>
                <a:gd name="T22" fmla="*/ 58 w 176"/>
                <a:gd name="T23" fmla="*/ 350 h 369"/>
                <a:gd name="T24" fmla="*/ 43 w 176"/>
                <a:gd name="T25" fmla="*/ 315 h 369"/>
                <a:gd name="T26" fmla="*/ 42 w 176"/>
                <a:gd name="T27" fmla="*/ 278 h 369"/>
                <a:gd name="T28" fmla="*/ 42 w 176"/>
                <a:gd name="T29" fmla="*/ 119 h 369"/>
                <a:gd name="T30" fmla="*/ 0 w 176"/>
                <a:gd name="T31" fmla="*/ 119 h 369"/>
                <a:gd name="T32" fmla="*/ 0 w 176"/>
                <a:gd name="T33" fmla="*/ 103 h 369"/>
                <a:gd name="T34" fmla="*/ 54 w 176"/>
                <a:gd name="T35" fmla="*/ 72 h 369"/>
                <a:gd name="T36" fmla="*/ 74 w 176"/>
                <a:gd name="T37" fmla="*/ 0 h 369"/>
                <a:gd name="T38" fmla="*/ 90 w 176"/>
                <a:gd name="T39" fmla="*/ 0 h 369"/>
                <a:gd name="T40" fmla="*/ 90 w 176"/>
                <a:gd name="T41" fmla="*/ 100 h 369"/>
                <a:gd name="T42" fmla="*/ 167 w 176"/>
                <a:gd name="T43" fmla="*/ 100 h 369"/>
                <a:gd name="T44" fmla="*/ 167 w 176"/>
                <a:gd name="T45" fmla="*/ 119 h 369"/>
                <a:gd name="T46" fmla="*/ 90 w 176"/>
                <a:gd name="T47" fmla="*/ 119 h 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6" h="369">
                  <a:moveTo>
                    <a:pt x="90" y="119"/>
                  </a:moveTo>
                  <a:cubicBezTo>
                    <a:pt x="90" y="278"/>
                    <a:pt x="90" y="278"/>
                    <a:pt x="90" y="278"/>
                  </a:cubicBezTo>
                  <a:cubicBezTo>
                    <a:pt x="90" y="299"/>
                    <a:pt x="92" y="314"/>
                    <a:pt x="94" y="323"/>
                  </a:cubicBezTo>
                  <a:cubicBezTo>
                    <a:pt x="99" y="338"/>
                    <a:pt x="108" y="345"/>
                    <a:pt x="122" y="345"/>
                  </a:cubicBezTo>
                  <a:cubicBezTo>
                    <a:pt x="134" y="345"/>
                    <a:pt x="143" y="339"/>
                    <a:pt x="149" y="326"/>
                  </a:cubicBezTo>
                  <a:cubicBezTo>
                    <a:pt x="154" y="314"/>
                    <a:pt x="157" y="299"/>
                    <a:pt x="157" y="281"/>
                  </a:cubicBezTo>
                  <a:cubicBezTo>
                    <a:pt x="157" y="273"/>
                    <a:pt x="157" y="273"/>
                    <a:pt x="157" y="273"/>
                  </a:cubicBezTo>
                  <a:cubicBezTo>
                    <a:pt x="176" y="273"/>
                    <a:pt x="176" y="273"/>
                    <a:pt x="176" y="273"/>
                  </a:cubicBezTo>
                  <a:cubicBezTo>
                    <a:pt x="176" y="284"/>
                    <a:pt x="176" y="284"/>
                    <a:pt x="176" y="284"/>
                  </a:cubicBezTo>
                  <a:cubicBezTo>
                    <a:pt x="176" y="310"/>
                    <a:pt x="170" y="331"/>
                    <a:pt x="159" y="347"/>
                  </a:cubicBezTo>
                  <a:cubicBezTo>
                    <a:pt x="148" y="362"/>
                    <a:pt x="131" y="369"/>
                    <a:pt x="108" y="369"/>
                  </a:cubicBezTo>
                  <a:cubicBezTo>
                    <a:pt x="85" y="369"/>
                    <a:pt x="69" y="363"/>
                    <a:pt x="58" y="350"/>
                  </a:cubicBezTo>
                  <a:cubicBezTo>
                    <a:pt x="50" y="340"/>
                    <a:pt x="45" y="329"/>
                    <a:pt x="43" y="315"/>
                  </a:cubicBezTo>
                  <a:cubicBezTo>
                    <a:pt x="42" y="305"/>
                    <a:pt x="42" y="293"/>
                    <a:pt x="42" y="278"/>
                  </a:cubicBezTo>
                  <a:cubicBezTo>
                    <a:pt x="42" y="119"/>
                    <a:pt x="42" y="119"/>
                    <a:pt x="42" y="119"/>
                  </a:cubicBezTo>
                  <a:cubicBezTo>
                    <a:pt x="0" y="119"/>
                    <a:pt x="0" y="119"/>
                    <a:pt x="0" y="119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27" y="97"/>
                    <a:pt x="45" y="86"/>
                    <a:pt x="54" y="72"/>
                  </a:cubicBezTo>
                  <a:cubicBezTo>
                    <a:pt x="64" y="57"/>
                    <a:pt x="71" y="33"/>
                    <a:pt x="74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0" y="100"/>
                    <a:pt x="90" y="100"/>
                    <a:pt x="90" y="100"/>
                  </a:cubicBezTo>
                  <a:cubicBezTo>
                    <a:pt x="167" y="100"/>
                    <a:pt x="167" y="100"/>
                    <a:pt x="167" y="100"/>
                  </a:cubicBezTo>
                  <a:cubicBezTo>
                    <a:pt x="167" y="119"/>
                    <a:pt x="167" y="119"/>
                    <a:pt x="167" y="119"/>
                  </a:cubicBezTo>
                  <a:lnTo>
                    <a:pt x="90" y="1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" name="Freeform 14"/>
            <p:cNvSpPr>
              <a:spLocks noEditPoints="1"/>
            </p:cNvSpPr>
            <p:nvPr userDrawn="1"/>
          </p:nvSpPr>
          <p:spPr bwMode="auto">
            <a:xfrm>
              <a:off x="3595688" y="6708775"/>
              <a:ext cx="381000" cy="509588"/>
            </a:xfrm>
            <a:custGeom>
              <a:avLst/>
              <a:gdLst>
                <a:gd name="T0" fmla="*/ 210 w 210"/>
                <a:gd name="T1" fmla="*/ 138 h 280"/>
                <a:gd name="T2" fmla="*/ 53 w 210"/>
                <a:gd name="T3" fmla="*/ 138 h 280"/>
                <a:gd name="T4" fmla="*/ 65 w 210"/>
                <a:gd name="T5" fmla="*/ 220 h 280"/>
                <a:gd name="T6" fmla="*/ 119 w 210"/>
                <a:gd name="T7" fmla="*/ 257 h 280"/>
                <a:gd name="T8" fmla="*/ 168 w 210"/>
                <a:gd name="T9" fmla="*/ 234 h 280"/>
                <a:gd name="T10" fmla="*/ 190 w 210"/>
                <a:gd name="T11" fmla="*/ 198 h 280"/>
                <a:gd name="T12" fmla="*/ 207 w 210"/>
                <a:gd name="T13" fmla="*/ 207 h 280"/>
                <a:gd name="T14" fmla="*/ 110 w 210"/>
                <a:gd name="T15" fmla="*/ 280 h 280"/>
                <a:gd name="T16" fmla="*/ 36 w 210"/>
                <a:gd name="T17" fmla="*/ 249 h 280"/>
                <a:gd name="T18" fmla="*/ 0 w 210"/>
                <a:gd name="T19" fmla="*/ 138 h 280"/>
                <a:gd name="T20" fmla="*/ 36 w 210"/>
                <a:gd name="T21" fmla="*/ 31 h 280"/>
                <a:gd name="T22" fmla="*/ 104 w 210"/>
                <a:gd name="T23" fmla="*/ 0 h 280"/>
                <a:gd name="T24" fmla="*/ 193 w 210"/>
                <a:gd name="T25" fmla="*/ 59 h 280"/>
                <a:gd name="T26" fmla="*/ 210 w 210"/>
                <a:gd name="T27" fmla="*/ 138 h 280"/>
                <a:gd name="T28" fmla="*/ 157 w 210"/>
                <a:gd name="T29" fmla="*/ 118 h 280"/>
                <a:gd name="T30" fmla="*/ 150 w 210"/>
                <a:gd name="T31" fmla="*/ 60 h 280"/>
                <a:gd name="T32" fmla="*/ 107 w 210"/>
                <a:gd name="T33" fmla="*/ 20 h 280"/>
                <a:gd name="T34" fmla="*/ 60 w 210"/>
                <a:gd name="T35" fmla="*/ 69 h 280"/>
                <a:gd name="T36" fmla="*/ 54 w 210"/>
                <a:gd name="T37" fmla="*/ 118 h 280"/>
                <a:gd name="T38" fmla="*/ 157 w 210"/>
                <a:gd name="T39" fmla="*/ 118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10" h="280">
                  <a:moveTo>
                    <a:pt x="210" y="138"/>
                  </a:moveTo>
                  <a:cubicBezTo>
                    <a:pt x="53" y="138"/>
                    <a:pt x="53" y="138"/>
                    <a:pt x="53" y="138"/>
                  </a:cubicBezTo>
                  <a:cubicBezTo>
                    <a:pt x="54" y="175"/>
                    <a:pt x="58" y="202"/>
                    <a:pt x="65" y="220"/>
                  </a:cubicBezTo>
                  <a:cubicBezTo>
                    <a:pt x="75" y="245"/>
                    <a:pt x="93" y="257"/>
                    <a:pt x="119" y="257"/>
                  </a:cubicBezTo>
                  <a:cubicBezTo>
                    <a:pt x="139" y="257"/>
                    <a:pt x="155" y="249"/>
                    <a:pt x="168" y="234"/>
                  </a:cubicBezTo>
                  <a:cubicBezTo>
                    <a:pt x="176" y="225"/>
                    <a:pt x="183" y="213"/>
                    <a:pt x="190" y="198"/>
                  </a:cubicBezTo>
                  <a:cubicBezTo>
                    <a:pt x="207" y="207"/>
                    <a:pt x="207" y="207"/>
                    <a:pt x="207" y="207"/>
                  </a:cubicBezTo>
                  <a:cubicBezTo>
                    <a:pt x="183" y="256"/>
                    <a:pt x="151" y="280"/>
                    <a:pt x="110" y="280"/>
                  </a:cubicBezTo>
                  <a:cubicBezTo>
                    <a:pt x="80" y="280"/>
                    <a:pt x="55" y="269"/>
                    <a:pt x="36" y="249"/>
                  </a:cubicBezTo>
                  <a:cubicBezTo>
                    <a:pt x="12" y="223"/>
                    <a:pt x="0" y="186"/>
                    <a:pt x="0" y="138"/>
                  </a:cubicBezTo>
                  <a:cubicBezTo>
                    <a:pt x="0" y="94"/>
                    <a:pt x="12" y="58"/>
                    <a:pt x="36" y="31"/>
                  </a:cubicBezTo>
                  <a:cubicBezTo>
                    <a:pt x="55" y="10"/>
                    <a:pt x="77" y="0"/>
                    <a:pt x="104" y="0"/>
                  </a:cubicBezTo>
                  <a:cubicBezTo>
                    <a:pt x="143" y="0"/>
                    <a:pt x="173" y="19"/>
                    <a:pt x="193" y="59"/>
                  </a:cubicBezTo>
                  <a:cubicBezTo>
                    <a:pt x="203" y="80"/>
                    <a:pt x="209" y="106"/>
                    <a:pt x="210" y="138"/>
                  </a:cubicBezTo>
                  <a:close/>
                  <a:moveTo>
                    <a:pt x="157" y="118"/>
                  </a:moveTo>
                  <a:cubicBezTo>
                    <a:pt x="157" y="94"/>
                    <a:pt x="155" y="75"/>
                    <a:pt x="150" y="60"/>
                  </a:cubicBezTo>
                  <a:cubicBezTo>
                    <a:pt x="141" y="33"/>
                    <a:pt x="126" y="20"/>
                    <a:pt x="107" y="20"/>
                  </a:cubicBezTo>
                  <a:cubicBezTo>
                    <a:pt x="85" y="20"/>
                    <a:pt x="69" y="36"/>
                    <a:pt x="60" y="69"/>
                  </a:cubicBezTo>
                  <a:cubicBezTo>
                    <a:pt x="56" y="82"/>
                    <a:pt x="54" y="99"/>
                    <a:pt x="54" y="118"/>
                  </a:cubicBezTo>
                  <a:lnTo>
                    <a:pt x="157" y="1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" name="Freeform 15"/>
            <p:cNvSpPr>
              <a:spLocks/>
            </p:cNvSpPr>
            <p:nvPr userDrawn="1"/>
          </p:nvSpPr>
          <p:spPr bwMode="auto">
            <a:xfrm>
              <a:off x="4013201" y="6711950"/>
              <a:ext cx="720725" cy="492125"/>
            </a:xfrm>
            <a:custGeom>
              <a:avLst/>
              <a:gdLst>
                <a:gd name="T0" fmla="*/ 312 w 396"/>
                <a:gd name="T1" fmla="*/ 270 h 270"/>
                <a:gd name="T2" fmla="*/ 312 w 396"/>
                <a:gd name="T3" fmla="*/ 108 h 270"/>
                <a:gd name="T4" fmla="*/ 305 w 396"/>
                <a:gd name="T5" fmla="*/ 44 h 270"/>
                <a:gd name="T6" fmla="*/ 275 w 396"/>
                <a:gd name="T7" fmla="*/ 25 h 270"/>
                <a:gd name="T8" fmla="*/ 236 w 396"/>
                <a:gd name="T9" fmla="*/ 52 h 270"/>
                <a:gd name="T10" fmla="*/ 225 w 396"/>
                <a:gd name="T11" fmla="*/ 84 h 270"/>
                <a:gd name="T12" fmla="*/ 223 w 396"/>
                <a:gd name="T13" fmla="*/ 134 h 270"/>
                <a:gd name="T14" fmla="*/ 223 w 396"/>
                <a:gd name="T15" fmla="*/ 205 h 270"/>
                <a:gd name="T16" fmla="*/ 230 w 396"/>
                <a:gd name="T17" fmla="*/ 245 h 270"/>
                <a:gd name="T18" fmla="*/ 252 w 396"/>
                <a:gd name="T19" fmla="*/ 252 h 270"/>
                <a:gd name="T20" fmla="*/ 261 w 396"/>
                <a:gd name="T21" fmla="*/ 252 h 270"/>
                <a:gd name="T22" fmla="*/ 261 w 396"/>
                <a:gd name="T23" fmla="*/ 270 h 270"/>
                <a:gd name="T24" fmla="*/ 175 w 396"/>
                <a:gd name="T25" fmla="*/ 270 h 270"/>
                <a:gd name="T26" fmla="*/ 175 w 396"/>
                <a:gd name="T27" fmla="*/ 117 h 270"/>
                <a:gd name="T28" fmla="*/ 173 w 396"/>
                <a:gd name="T29" fmla="*/ 66 h 270"/>
                <a:gd name="T30" fmla="*/ 137 w 396"/>
                <a:gd name="T31" fmla="*/ 25 h 270"/>
                <a:gd name="T32" fmla="*/ 99 w 396"/>
                <a:gd name="T33" fmla="*/ 53 h 270"/>
                <a:gd name="T34" fmla="*/ 89 w 396"/>
                <a:gd name="T35" fmla="*/ 81 h 270"/>
                <a:gd name="T36" fmla="*/ 86 w 396"/>
                <a:gd name="T37" fmla="*/ 134 h 270"/>
                <a:gd name="T38" fmla="*/ 86 w 396"/>
                <a:gd name="T39" fmla="*/ 205 h 270"/>
                <a:gd name="T40" fmla="*/ 93 w 396"/>
                <a:gd name="T41" fmla="*/ 245 h 270"/>
                <a:gd name="T42" fmla="*/ 116 w 396"/>
                <a:gd name="T43" fmla="*/ 252 h 270"/>
                <a:gd name="T44" fmla="*/ 124 w 396"/>
                <a:gd name="T45" fmla="*/ 252 h 270"/>
                <a:gd name="T46" fmla="*/ 124 w 396"/>
                <a:gd name="T47" fmla="*/ 270 h 270"/>
                <a:gd name="T48" fmla="*/ 0 w 396"/>
                <a:gd name="T49" fmla="*/ 270 h 270"/>
                <a:gd name="T50" fmla="*/ 0 w 396"/>
                <a:gd name="T51" fmla="*/ 252 h 270"/>
                <a:gd name="T52" fmla="*/ 9 w 396"/>
                <a:gd name="T53" fmla="*/ 252 h 270"/>
                <a:gd name="T54" fmla="*/ 31 w 396"/>
                <a:gd name="T55" fmla="*/ 245 h 270"/>
                <a:gd name="T56" fmla="*/ 38 w 396"/>
                <a:gd name="T57" fmla="*/ 205 h 270"/>
                <a:gd name="T58" fmla="*/ 38 w 396"/>
                <a:gd name="T59" fmla="*/ 69 h 270"/>
                <a:gd name="T60" fmla="*/ 31 w 396"/>
                <a:gd name="T61" fmla="*/ 30 h 270"/>
                <a:gd name="T62" fmla="*/ 9 w 396"/>
                <a:gd name="T63" fmla="*/ 24 h 270"/>
                <a:gd name="T64" fmla="*/ 2 w 396"/>
                <a:gd name="T65" fmla="*/ 24 h 270"/>
                <a:gd name="T66" fmla="*/ 2 w 396"/>
                <a:gd name="T67" fmla="*/ 6 h 270"/>
                <a:gd name="T68" fmla="*/ 83 w 396"/>
                <a:gd name="T69" fmla="*/ 2 h 270"/>
                <a:gd name="T70" fmla="*/ 83 w 396"/>
                <a:gd name="T71" fmla="*/ 49 h 270"/>
                <a:gd name="T72" fmla="*/ 99 w 396"/>
                <a:gd name="T73" fmla="*/ 23 h 270"/>
                <a:gd name="T74" fmla="*/ 150 w 396"/>
                <a:gd name="T75" fmla="*/ 0 h 270"/>
                <a:gd name="T76" fmla="*/ 217 w 396"/>
                <a:gd name="T77" fmla="*/ 52 h 270"/>
                <a:gd name="T78" fmla="*/ 288 w 396"/>
                <a:gd name="T79" fmla="*/ 0 h 270"/>
                <a:gd name="T80" fmla="*/ 346 w 396"/>
                <a:gd name="T81" fmla="*/ 30 h 270"/>
                <a:gd name="T82" fmla="*/ 358 w 396"/>
                <a:gd name="T83" fmla="*/ 66 h 270"/>
                <a:gd name="T84" fmla="*/ 360 w 396"/>
                <a:gd name="T85" fmla="*/ 102 h 270"/>
                <a:gd name="T86" fmla="*/ 360 w 396"/>
                <a:gd name="T87" fmla="*/ 205 h 270"/>
                <a:gd name="T88" fmla="*/ 367 w 396"/>
                <a:gd name="T89" fmla="*/ 245 h 270"/>
                <a:gd name="T90" fmla="*/ 389 w 396"/>
                <a:gd name="T91" fmla="*/ 252 h 270"/>
                <a:gd name="T92" fmla="*/ 396 w 396"/>
                <a:gd name="T93" fmla="*/ 252 h 270"/>
                <a:gd name="T94" fmla="*/ 396 w 396"/>
                <a:gd name="T95" fmla="*/ 270 h 270"/>
                <a:gd name="T96" fmla="*/ 312 w 396"/>
                <a:gd name="T97" fmla="*/ 27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96" h="270">
                  <a:moveTo>
                    <a:pt x="312" y="270"/>
                  </a:moveTo>
                  <a:cubicBezTo>
                    <a:pt x="312" y="108"/>
                    <a:pt x="312" y="108"/>
                    <a:pt x="312" y="108"/>
                  </a:cubicBezTo>
                  <a:cubicBezTo>
                    <a:pt x="312" y="75"/>
                    <a:pt x="309" y="54"/>
                    <a:pt x="305" y="44"/>
                  </a:cubicBezTo>
                  <a:cubicBezTo>
                    <a:pt x="298" y="31"/>
                    <a:pt x="288" y="25"/>
                    <a:pt x="275" y="25"/>
                  </a:cubicBezTo>
                  <a:cubicBezTo>
                    <a:pt x="259" y="25"/>
                    <a:pt x="246" y="34"/>
                    <a:pt x="236" y="52"/>
                  </a:cubicBezTo>
                  <a:cubicBezTo>
                    <a:pt x="231" y="62"/>
                    <a:pt x="227" y="73"/>
                    <a:pt x="225" y="84"/>
                  </a:cubicBezTo>
                  <a:cubicBezTo>
                    <a:pt x="224" y="93"/>
                    <a:pt x="223" y="109"/>
                    <a:pt x="223" y="134"/>
                  </a:cubicBezTo>
                  <a:cubicBezTo>
                    <a:pt x="223" y="205"/>
                    <a:pt x="223" y="205"/>
                    <a:pt x="223" y="205"/>
                  </a:cubicBezTo>
                  <a:cubicBezTo>
                    <a:pt x="223" y="226"/>
                    <a:pt x="226" y="240"/>
                    <a:pt x="230" y="245"/>
                  </a:cubicBezTo>
                  <a:cubicBezTo>
                    <a:pt x="234" y="250"/>
                    <a:pt x="242" y="252"/>
                    <a:pt x="252" y="252"/>
                  </a:cubicBezTo>
                  <a:cubicBezTo>
                    <a:pt x="261" y="252"/>
                    <a:pt x="261" y="252"/>
                    <a:pt x="261" y="252"/>
                  </a:cubicBezTo>
                  <a:cubicBezTo>
                    <a:pt x="261" y="270"/>
                    <a:pt x="261" y="270"/>
                    <a:pt x="261" y="270"/>
                  </a:cubicBezTo>
                  <a:cubicBezTo>
                    <a:pt x="175" y="270"/>
                    <a:pt x="175" y="270"/>
                    <a:pt x="175" y="270"/>
                  </a:cubicBezTo>
                  <a:cubicBezTo>
                    <a:pt x="175" y="117"/>
                    <a:pt x="175" y="117"/>
                    <a:pt x="175" y="117"/>
                  </a:cubicBezTo>
                  <a:cubicBezTo>
                    <a:pt x="175" y="91"/>
                    <a:pt x="174" y="74"/>
                    <a:pt x="173" y="66"/>
                  </a:cubicBezTo>
                  <a:cubicBezTo>
                    <a:pt x="169" y="39"/>
                    <a:pt x="157" y="25"/>
                    <a:pt x="137" y="25"/>
                  </a:cubicBezTo>
                  <a:cubicBezTo>
                    <a:pt x="121" y="25"/>
                    <a:pt x="108" y="34"/>
                    <a:pt x="99" y="53"/>
                  </a:cubicBezTo>
                  <a:cubicBezTo>
                    <a:pt x="94" y="62"/>
                    <a:pt x="91" y="71"/>
                    <a:pt x="89" y="81"/>
                  </a:cubicBezTo>
                  <a:cubicBezTo>
                    <a:pt x="87" y="91"/>
                    <a:pt x="86" y="108"/>
                    <a:pt x="86" y="134"/>
                  </a:cubicBezTo>
                  <a:cubicBezTo>
                    <a:pt x="86" y="205"/>
                    <a:pt x="86" y="205"/>
                    <a:pt x="86" y="205"/>
                  </a:cubicBezTo>
                  <a:cubicBezTo>
                    <a:pt x="86" y="227"/>
                    <a:pt x="89" y="240"/>
                    <a:pt x="93" y="245"/>
                  </a:cubicBezTo>
                  <a:cubicBezTo>
                    <a:pt x="97" y="250"/>
                    <a:pt x="105" y="252"/>
                    <a:pt x="116" y="252"/>
                  </a:cubicBezTo>
                  <a:cubicBezTo>
                    <a:pt x="124" y="252"/>
                    <a:pt x="124" y="252"/>
                    <a:pt x="124" y="252"/>
                  </a:cubicBezTo>
                  <a:cubicBezTo>
                    <a:pt x="124" y="270"/>
                    <a:pt x="124" y="270"/>
                    <a:pt x="124" y="270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252"/>
                    <a:pt x="0" y="252"/>
                    <a:pt x="0" y="252"/>
                  </a:cubicBezTo>
                  <a:cubicBezTo>
                    <a:pt x="9" y="252"/>
                    <a:pt x="9" y="252"/>
                    <a:pt x="9" y="252"/>
                  </a:cubicBezTo>
                  <a:cubicBezTo>
                    <a:pt x="19" y="252"/>
                    <a:pt x="27" y="250"/>
                    <a:pt x="31" y="245"/>
                  </a:cubicBezTo>
                  <a:cubicBezTo>
                    <a:pt x="36" y="240"/>
                    <a:pt x="38" y="226"/>
                    <a:pt x="38" y="205"/>
                  </a:cubicBezTo>
                  <a:cubicBezTo>
                    <a:pt x="38" y="69"/>
                    <a:pt x="38" y="69"/>
                    <a:pt x="38" y="69"/>
                  </a:cubicBezTo>
                  <a:cubicBezTo>
                    <a:pt x="38" y="49"/>
                    <a:pt x="36" y="36"/>
                    <a:pt x="31" y="30"/>
                  </a:cubicBezTo>
                  <a:cubicBezTo>
                    <a:pt x="27" y="26"/>
                    <a:pt x="19" y="24"/>
                    <a:pt x="9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83" y="2"/>
                    <a:pt x="83" y="2"/>
                    <a:pt x="83" y="2"/>
                  </a:cubicBezTo>
                  <a:cubicBezTo>
                    <a:pt x="83" y="49"/>
                    <a:pt x="83" y="49"/>
                    <a:pt x="83" y="49"/>
                  </a:cubicBezTo>
                  <a:cubicBezTo>
                    <a:pt x="87" y="39"/>
                    <a:pt x="92" y="31"/>
                    <a:pt x="99" y="23"/>
                  </a:cubicBezTo>
                  <a:cubicBezTo>
                    <a:pt x="113" y="8"/>
                    <a:pt x="130" y="0"/>
                    <a:pt x="150" y="0"/>
                  </a:cubicBezTo>
                  <a:cubicBezTo>
                    <a:pt x="181" y="0"/>
                    <a:pt x="203" y="18"/>
                    <a:pt x="217" y="52"/>
                  </a:cubicBezTo>
                  <a:cubicBezTo>
                    <a:pt x="234" y="18"/>
                    <a:pt x="257" y="0"/>
                    <a:pt x="288" y="0"/>
                  </a:cubicBezTo>
                  <a:cubicBezTo>
                    <a:pt x="314" y="0"/>
                    <a:pt x="333" y="10"/>
                    <a:pt x="346" y="30"/>
                  </a:cubicBezTo>
                  <a:cubicBezTo>
                    <a:pt x="353" y="41"/>
                    <a:pt x="357" y="53"/>
                    <a:pt x="358" y="66"/>
                  </a:cubicBezTo>
                  <a:cubicBezTo>
                    <a:pt x="359" y="77"/>
                    <a:pt x="360" y="89"/>
                    <a:pt x="360" y="102"/>
                  </a:cubicBezTo>
                  <a:cubicBezTo>
                    <a:pt x="360" y="205"/>
                    <a:pt x="360" y="205"/>
                    <a:pt x="360" y="205"/>
                  </a:cubicBezTo>
                  <a:cubicBezTo>
                    <a:pt x="360" y="226"/>
                    <a:pt x="362" y="240"/>
                    <a:pt x="367" y="245"/>
                  </a:cubicBezTo>
                  <a:cubicBezTo>
                    <a:pt x="371" y="250"/>
                    <a:pt x="378" y="252"/>
                    <a:pt x="389" y="252"/>
                  </a:cubicBezTo>
                  <a:cubicBezTo>
                    <a:pt x="396" y="252"/>
                    <a:pt x="396" y="252"/>
                    <a:pt x="396" y="252"/>
                  </a:cubicBezTo>
                  <a:cubicBezTo>
                    <a:pt x="396" y="270"/>
                    <a:pt x="396" y="270"/>
                    <a:pt x="396" y="270"/>
                  </a:cubicBezTo>
                  <a:lnTo>
                    <a:pt x="312" y="2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" name="Freeform 16"/>
            <p:cNvSpPr>
              <a:spLocks/>
            </p:cNvSpPr>
            <p:nvPr userDrawn="1"/>
          </p:nvSpPr>
          <p:spPr bwMode="auto">
            <a:xfrm>
              <a:off x="4783138" y="6711950"/>
              <a:ext cx="333375" cy="500063"/>
            </a:xfrm>
            <a:custGeom>
              <a:avLst/>
              <a:gdLst>
                <a:gd name="T0" fmla="*/ 168 w 184"/>
                <a:gd name="T1" fmla="*/ 6 h 275"/>
                <a:gd name="T2" fmla="*/ 168 w 184"/>
                <a:gd name="T3" fmla="*/ 89 h 275"/>
                <a:gd name="T4" fmla="*/ 151 w 184"/>
                <a:gd name="T5" fmla="*/ 89 h 275"/>
                <a:gd name="T6" fmla="*/ 84 w 184"/>
                <a:gd name="T7" fmla="*/ 17 h 275"/>
                <a:gd name="T8" fmla="*/ 53 w 184"/>
                <a:gd name="T9" fmla="*/ 28 h 275"/>
                <a:gd name="T10" fmla="*/ 41 w 184"/>
                <a:gd name="T11" fmla="*/ 57 h 275"/>
                <a:gd name="T12" fmla="*/ 58 w 184"/>
                <a:gd name="T13" fmla="*/ 88 h 275"/>
                <a:gd name="T14" fmla="*/ 88 w 184"/>
                <a:gd name="T15" fmla="*/ 101 h 275"/>
                <a:gd name="T16" fmla="*/ 152 w 184"/>
                <a:gd name="T17" fmla="*/ 128 h 275"/>
                <a:gd name="T18" fmla="*/ 184 w 184"/>
                <a:gd name="T19" fmla="*/ 191 h 275"/>
                <a:gd name="T20" fmla="*/ 156 w 184"/>
                <a:gd name="T21" fmla="*/ 255 h 275"/>
                <a:gd name="T22" fmla="*/ 98 w 184"/>
                <a:gd name="T23" fmla="*/ 275 h 275"/>
                <a:gd name="T24" fmla="*/ 59 w 184"/>
                <a:gd name="T25" fmla="*/ 268 h 275"/>
                <a:gd name="T26" fmla="*/ 33 w 184"/>
                <a:gd name="T27" fmla="*/ 254 h 275"/>
                <a:gd name="T28" fmla="*/ 26 w 184"/>
                <a:gd name="T29" fmla="*/ 252 h 275"/>
                <a:gd name="T30" fmla="*/ 16 w 184"/>
                <a:gd name="T31" fmla="*/ 270 h 275"/>
                <a:gd name="T32" fmla="*/ 0 w 184"/>
                <a:gd name="T33" fmla="*/ 270 h 275"/>
                <a:gd name="T34" fmla="*/ 0 w 184"/>
                <a:gd name="T35" fmla="*/ 172 h 275"/>
                <a:gd name="T36" fmla="*/ 16 w 184"/>
                <a:gd name="T37" fmla="*/ 172 h 275"/>
                <a:gd name="T38" fmla="*/ 37 w 184"/>
                <a:gd name="T39" fmla="*/ 224 h 275"/>
                <a:gd name="T40" fmla="*/ 63 w 184"/>
                <a:gd name="T41" fmla="*/ 248 h 275"/>
                <a:gd name="T42" fmla="*/ 97 w 184"/>
                <a:gd name="T43" fmla="*/ 257 h 275"/>
                <a:gd name="T44" fmla="*/ 131 w 184"/>
                <a:gd name="T45" fmla="*/ 242 h 275"/>
                <a:gd name="T46" fmla="*/ 144 w 184"/>
                <a:gd name="T47" fmla="*/ 210 h 275"/>
                <a:gd name="T48" fmla="*/ 120 w 184"/>
                <a:gd name="T49" fmla="*/ 170 h 275"/>
                <a:gd name="T50" fmla="*/ 69 w 184"/>
                <a:gd name="T51" fmla="*/ 149 h 275"/>
                <a:gd name="T52" fmla="*/ 28 w 184"/>
                <a:gd name="T53" fmla="*/ 128 h 275"/>
                <a:gd name="T54" fmla="*/ 2 w 184"/>
                <a:gd name="T55" fmla="*/ 72 h 275"/>
                <a:gd name="T56" fmla="*/ 26 w 184"/>
                <a:gd name="T57" fmla="*/ 19 h 275"/>
                <a:gd name="T58" fmla="*/ 80 w 184"/>
                <a:gd name="T59" fmla="*/ 0 h 275"/>
                <a:gd name="T60" fmla="*/ 134 w 184"/>
                <a:gd name="T61" fmla="*/ 16 h 275"/>
                <a:gd name="T62" fmla="*/ 142 w 184"/>
                <a:gd name="T63" fmla="*/ 19 h 275"/>
                <a:gd name="T64" fmla="*/ 151 w 184"/>
                <a:gd name="T65" fmla="*/ 6 h 275"/>
                <a:gd name="T66" fmla="*/ 168 w 184"/>
                <a:gd name="T67" fmla="*/ 6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84" h="275">
                  <a:moveTo>
                    <a:pt x="168" y="6"/>
                  </a:moveTo>
                  <a:cubicBezTo>
                    <a:pt x="168" y="89"/>
                    <a:pt x="168" y="89"/>
                    <a:pt x="168" y="89"/>
                  </a:cubicBezTo>
                  <a:cubicBezTo>
                    <a:pt x="151" y="89"/>
                    <a:pt x="151" y="89"/>
                    <a:pt x="151" y="89"/>
                  </a:cubicBezTo>
                  <a:cubicBezTo>
                    <a:pt x="141" y="41"/>
                    <a:pt x="119" y="17"/>
                    <a:pt x="84" y="17"/>
                  </a:cubicBezTo>
                  <a:cubicBezTo>
                    <a:pt x="71" y="17"/>
                    <a:pt x="61" y="21"/>
                    <a:pt x="53" y="28"/>
                  </a:cubicBezTo>
                  <a:cubicBezTo>
                    <a:pt x="45" y="36"/>
                    <a:pt x="41" y="46"/>
                    <a:pt x="41" y="57"/>
                  </a:cubicBezTo>
                  <a:cubicBezTo>
                    <a:pt x="41" y="70"/>
                    <a:pt x="46" y="80"/>
                    <a:pt x="58" y="88"/>
                  </a:cubicBezTo>
                  <a:cubicBezTo>
                    <a:pt x="63" y="92"/>
                    <a:pt x="74" y="96"/>
                    <a:pt x="88" y="101"/>
                  </a:cubicBezTo>
                  <a:cubicBezTo>
                    <a:pt x="120" y="111"/>
                    <a:pt x="142" y="120"/>
                    <a:pt x="152" y="128"/>
                  </a:cubicBezTo>
                  <a:cubicBezTo>
                    <a:pt x="173" y="144"/>
                    <a:pt x="184" y="165"/>
                    <a:pt x="184" y="191"/>
                  </a:cubicBezTo>
                  <a:cubicBezTo>
                    <a:pt x="184" y="217"/>
                    <a:pt x="175" y="238"/>
                    <a:pt x="156" y="255"/>
                  </a:cubicBezTo>
                  <a:cubicBezTo>
                    <a:pt x="141" y="269"/>
                    <a:pt x="121" y="275"/>
                    <a:pt x="98" y="275"/>
                  </a:cubicBezTo>
                  <a:cubicBezTo>
                    <a:pt x="84" y="275"/>
                    <a:pt x="71" y="273"/>
                    <a:pt x="59" y="268"/>
                  </a:cubicBezTo>
                  <a:cubicBezTo>
                    <a:pt x="55" y="266"/>
                    <a:pt x="46" y="262"/>
                    <a:pt x="33" y="254"/>
                  </a:cubicBezTo>
                  <a:cubicBezTo>
                    <a:pt x="31" y="253"/>
                    <a:pt x="28" y="252"/>
                    <a:pt x="26" y="252"/>
                  </a:cubicBezTo>
                  <a:cubicBezTo>
                    <a:pt x="23" y="252"/>
                    <a:pt x="19" y="258"/>
                    <a:pt x="16" y="270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172"/>
                    <a:pt x="0" y="172"/>
                    <a:pt x="0" y="172"/>
                  </a:cubicBezTo>
                  <a:cubicBezTo>
                    <a:pt x="16" y="172"/>
                    <a:pt x="16" y="172"/>
                    <a:pt x="16" y="172"/>
                  </a:cubicBezTo>
                  <a:cubicBezTo>
                    <a:pt x="22" y="196"/>
                    <a:pt x="29" y="214"/>
                    <a:pt x="37" y="224"/>
                  </a:cubicBezTo>
                  <a:cubicBezTo>
                    <a:pt x="44" y="234"/>
                    <a:pt x="52" y="242"/>
                    <a:pt x="63" y="248"/>
                  </a:cubicBezTo>
                  <a:cubicBezTo>
                    <a:pt x="74" y="254"/>
                    <a:pt x="85" y="257"/>
                    <a:pt x="97" y="257"/>
                  </a:cubicBezTo>
                  <a:cubicBezTo>
                    <a:pt x="112" y="257"/>
                    <a:pt x="123" y="252"/>
                    <a:pt x="131" y="242"/>
                  </a:cubicBezTo>
                  <a:cubicBezTo>
                    <a:pt x="139" y="233"/>
                    <a:pt x="144" y="222"/>
                    <a:pt x="144" y="210"/>
                  </a:cubicBezTo>
                  <a:cubicBezTo>
                    <a:pt x="144" y="193"/>
                    <a:pt x="136" y="179"/>
                    <a:pt x="120" y="170"/>
                  </a:cubicBezTo>
                  <a:cubicBezTo>
                    <a:pt x="112" y="164"/>
                    <a:pt x="95" y="158"/>
                    <a:pt x="69" y="149"/>
                  </a:cubicBezTo>
                  <a:cubicBezTo>
                    <a:pt x="52" y="144"/>
                    <a:pt x="39" y="137"/>
                    <a:pt x="28" y="128"/>
                  </a:cubicBezTo>
                  <a:cubicBezTo>
                    <a:pt x="11" y="115"/>
                    <a:pt x="2" y="97"/>
                    <a:pt x="2" y="72"/>
                  </a:cubicBezTo>
                  <a:cubicBezTo>
                    <a:pt x="2" y="50"/>
                    <a:pt x="10" y="32"/>
                    <a:pt x="26" y="19"/>
                  </a:cubicBezTo>
                  <a:cubicBezTo>
                    <a:pt x="40" y="6"/>
                    <a:pt x="58" y="0"/>
                    <a:pt x="80" y="0"/>
                  </a:cubicBezTo>
                  <a:cubicBezTo>
                    <a:pt x="99" y="0"/>
                    <a:pt x="117" y="5"/>
                    <a:pt x="134" y="16"/>
                  </a:cubicBezTo>
                  <a:cubicBezTo>
                    <a:pt x="138" y="18"/>
                    <a:pt x="140" y="19"/>
                    <a:pt x="142" y="19"/>
                  </a:cubicBezTo>
                  <a:cubicBezTo>
                    <a:pt x="146" y="19"/>
                    <a:pt x="149" y="14"/>
                    <a:pt x="151" y="6"/>
                  </a:cubicBezTo>
                  <a:lnTo>
                    <a:pt x="168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" name="Freeform 17"/>
            <p:cNvSpPr>
              <a:spLocks/>
            </p:cNvSpPr>
            <p:nvPr userDrawn="1"/>
          </p:nvSpPr>
          <p:spPr bwMode="auto">
            <a:xfrm>
              <a:off x="5227638" y="6811963"/>
              <a:ext cx="146050" cy="147638"/>
            </a:xfrm>
            <a:custGeom>
              <a:avLst/>
              <a:gdLst>
                <a:gd name="T0" fmla="*/ 0 w 92"/>
                <a:gd name="T1" fmla="*/ 93 h 93"/>
                <a:gd name="T2" fmla="*/ 0 w 92"/>
                <a:gd name="T3" fmla="*/ 0 h 93"/>
                <a:gd name="T4" fmla="*/ 51 w 92"/>
                <a:gd name="T5" fmla="*/ 0 h 93"/>
                <a:gd name="T6" fmla="*/ 92 w 92"/>
                <a:gd name="T7" fmla="*/ 0 h 93"/>
                <a:gd name="T8" fmla="*/ 92 w 92"/>
                <a:gd name="T9" fmla="*/ 93 h 93"/>
                <a:gd name="T10" fmla="*/ 0 w 92"/>
                <a:gd name="T11" fmla="*/ 93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2" h="93">
                  <a:moveTo>
                    <a:pt x="0" y="93"/>
                  </a:moveTo>
                  <a:lnTo>
                    <a:pt x="0" y="0"/>
                  </a:lnTo>
                  <a:lnTo>
                    <a:pt x="51" y="0"/>
                  </a:lnTo>
                  <a:lnTo>
                    <a:pt x="92" y="0"/>
                  </a:lnTo>
                  <a:lnTo>
                    <a:pt x="92" y="93"/>
                  </a:lnTo>
                  <a:lnTo>
                    <a:pt x="0" y="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29659328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vertical left transparent">
    <p:bg bwMode="ltGray"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Objekt 6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588" y="1588"/>
            <a:ext cx="1587" cy="1587"/>
          </a:xfrm>
          <a:prstGeom prst="rect">
            <a:avLst/>
          </a:prstGeom>
          <a:noFill/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black">
          <a:xfrm>
            <a:off x="360000" y="360000"/>
            <a:ext cx="4320000" cy="2502654"/>
          </a:xfrm>
        </p:spPr>
        <p:txBody>
          <a:bodyPr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Headline Ultra</a:t>
            </a:r>
            <a:br>
              <a:rPr lang="en-US" dirty="0" smtClean="0"/>
            </a:br>
            <a:r>
              <a:rPr lang="en-US" dirty="0" smtClean="0"/>
              <a:t>(60) 75 90 PT</a:t>
            </a:r>
            <a:endParaRPr lang="en-US" dirty="0"/>
          </a:p>
        </p:txBody>
      </p:sp>
      <p:sp>
        <p:nvSpPr>
          <p:cNvPr id="10" name="Textplatzhalter 2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360000" y="3781425"/>
            <a:ext cx="4320000" cy="10080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mtClean="0">
                <a:solidFill>
                  <a:schemeClr val="bg1"/>
                </a:solidFill>
              </a:defRPr>
            </a:lvl1pPr>
            <a:lvl2pPr>
              <a:defRPr lang="de-DE" smtClean="0">
                <a:solidFill>
                  <a:schemeClr val="bg1"/>
                </a:solidFill>
              </a:defRPr>
            </a:lvl2pPr>
            <a:lvl3pPr>
              <a:defRPr lang="de-DE" smtClean="0">
                <a:solidFill>
                  <a:schemeClr val="bg1"/>
                </a:solidFill>
              </a:defRPr>
            </a:lvl3pPr>
            <a:lvl4pPr>
              <a:defRPr lang="de-DE" smtClean="0">
                <a:solidFill>
                  <a:schemeClr val="bg1"/>
                </a:solidFill>
              </a:defRPr>
            </a:lvl4pPr>
            <a:lvl5pPr>
              <a:defRPr lang="de-DE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Sub-heading: Tele-</a:t>
            </a:r>
            <a:r>
              <a:rPr lang="en-US" dirty="0" err="1" smtClean="0"/>
              <a:t>GroteskFet</a:t>
            </a:r>
            <a:r>
              <a:rPr lang="en-US" dirty="0" smtClean="0"/>
              <a:t> 18 </a:t>
            </a:r>
            <a:r>
              <a:rPr lang="en-US" dirty="0" err="1" smtClean="0"/>
              <a:t>pt</a:t>
            </a:r>
            <a:endParaRPr lang="en-US" dirty="0"/>
          </a:p>
        </p:txBody>
      </p:sp>
      <p:grpSp>
        <p:nvGrpSpPr>
          <p:cNvPr id="6" name="Gruppieren 5"/>
          <p:cNvGrpSpPr/>
          <p:nvPr userDrawn="1"/>
        </p:nvGrpSpPr>
        <p:grpSpPr>
          <a:xfrm>
            <a:off x="360363" y="6659563"/>
            <a:ext cx="3765551" cy="684212"/>
            <a:chOff x="360363" y="6659563"/>
            <a:chExt cx="3765551" cy="684212"/>
          </a:xfrm>
          <a:solidFill>
            <a:schemeClr val="bg1"/>
          </a:solidFill>
        </p:grpSpPr>
        <p:sp>
          <p:nvSpPr>
            <p:cNvPr id="8" name="Freeform 5"/>
            <p:cNvSpPr>
              <a:spLocks/>
            </p:cNvSpPr>
            <p:nvPr userDrawn="1"/>
          </p:nvSpPr>
          <p:spPr bwMode="auto">
            <a:xfrm>
              <a:off x="360363" y="6908800"/>
              <a:ext cx="109538" cy="111125"/>
            </a:xfrm>
            <a:custGeom>
              <a:avLst/>
              <a:gdLst>
                <a:gd name="T0" fmla="*/ 0 w 69"/>
                <a:gd name="T1" fmla="*/ 70 h 70"/>
                <a:gd name="T2" fmla="*/ 0 w 69"/>
                <a:gd name="T3" fmla="*/ 0 h 70"/>
                <a:gd name="T4" fmla="*/ 34 w 69"/>
                <a:gd name="T5" fmla="*/ 0 h 70"/>
                <a:gd name="T6" fmla="*/ 69 w 69"/>
                <a:gd name="T7" fmla="*/ 0 h 70"/>
                <a:gd name="T8" fmla="*/ 69 w 69"/>
                <a:gd name="T9" fmla="*/ 70 h 70"/>
                <a:gd name="T10" fmla="*/ 0 w 69"/>
                <a:gd name="T11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9" h="70">
                  <a:moveTo>
                    <a:pt x="0" y="70"/>
                  </a:moveTo>
                  <a:lnTo>
                    <a:pt x="0" y="0"/>
                  </a:lnTo>
                  <a:lnTo>
                    <a:pt x="34" y="0"/>
                  </a:lnTo>
                  <a:lnTo>
                    <a:pt x="69" y="0"/>
                  </a:lnTo>
                  <a:lnTo>
                    <a:pt x="69" y="70"/>
                  </a:lnTo>
                  <a:lnTo>
                    <a:pt x="0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" name="Freeform 6"/>
            <p:cNvSpPr>
              <a:spLocks/>
            </p:cNvSpPr>
            <p:nvPr userDrawn="1"/>
          </p:nvSpPr>
          <p:spPr bwMode="auto">
            <a:xfrm>
              <a:off x="695326" y="6908800"/>
              <a:ext cx="109538" cy="111125"/>
            </a:xfrm>
            <a:custGeom>
              <a:avLst/>
              <a:gdLst>
                <a:gd name="T0" fmla="*/ 0 w 69"/>
                <a:gd name="T1" fmla="*/ 70 h 70"/>
                <a:gd name="T2" fmla="*/ 0 w 69"/>
                <a:gd name="T3" fmla="*/ 0 h 70"/>
                <a:gd name="T4" fmla="*/ 38 w 69"/>
                <a:gd name="T5" fmla="*/ 0 h 70"/>
                <a:gd name="T6" fmla="*/ 69 w 69"/>
                <a:gd name="T7" fmla="*/ 0 h 70"/>
                <a:gd name="T8" fmla="*/ 69 w 69"/>
                <a:gd name="T9" fmla="*/ 70 h 70"/>
                <a:gd name="T10" fmla="*/ 0 w 69"/>
                <a:gd name="T11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9" h="70">
                  <a:moveTo>
                    <a:pt x="0" y="70"/>
                  </a:moveTo>
                  <a:lnTo>
                    <a:pt x="0" y="0"/>
                  </a:lnTo>
                  <a:lnTo>
                    <a:pt x="38" y="0"/>
                  </a:lnTo>
                  <a:lnTo>
                    <a:pt x="69" y="0"/>
                  </a:lnTo>
                  <a:lnTo>
                    <a:pt x="69" y="70"/>
                  </a:lnTo>
                  <a:lnTo>
                    <a:pt x="0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" name="Freeform 7"/>
            <p:cNvSpPr>
              <a:spLocks/>
            </p:cNvSpPr>
            <p:nvPr userDrawn="1"/>
          </p:nvSpPr>
          <p:spPr bwMode="auto">
            <a:xfrm>
              <a:off x="1023938" y="6908800"/>
              <a:ext cx="111125" cy="111125"/>
            </a:xfrm>
            <a:custGeom>
              <a:avLst/>
              <a:gdLst>
                <a:gd name="T0" fmla="*/ 0 w 70"/>
                <a:gd name="T1" fmla="*/ 70 h 70"/>
                <a:gd name="T2" fmla="*/ 0 w 70"/>
                <a:gd name="T3" fmla="*/ 0 h 70"/>
                <a:gd name="T4" fmla="*/ 35 w 70"/>
                <a:gd name="T5" fmla="*/ 0 h 70"/>
                <a:gd name="T6" fmla="*/ 70 w 70"/>
                <a:gd name="T7" fmla="*/ 0 h 70"/>
                <a:gd name="T8" fmla="*/ 70 w 70"/>
                <a:gd name="T9" fmla="*/ 70 h 70"/>
                <a:gd name="T10" fmla="*/ 0 w 70"/>
                <a:gd name="T11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0" h="70">
                  <a:moveTo>
                    <a:pt x="0" y="70"/>
                  </a:moveTo>
                  <a:lnTo>
                    <a:pt x="0" y="0"/>
                  </a:lnTo>
                  <a:lnTo>
                    <a:pt x="35" y="0"/>
                  </a:lnTo>
                  <a:lnTo>
                    <a:pt x="70" y="0"/>
                  </a:lnTo>
                  <a:lnTo>
                    <a:pt x="70" y="70"/>
                  </a:lnTo>
                  <a:lnTo>
                    <a:pt x="0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" name="Freeform 8"/>
            <p:cNvSpPr>
              <a:spLocks/>
            </p:cNvSpPr>
            <p:nvPr userDrawn="1"/>
          </p:nvSpPr>
          <p:spPr bwMode="auto">
            <a:xfrm>
              <a:off x="1354138" y="6908800"/>
              <a:ext cx="109538" cy="111125"/>
            </a:xfrm>
            <a:custGeom>
              <a:avLst/>
              <a:gdLst>
                <a:gd name="T0" fmla="*/ 0 w 69"/>
                <a:gd name="T1" fmla="*/ 70 h 70"/>
                <a:gd name="T2" fmla="*/ 0 w 69"/>
                <a:gd name="T3" fmla="*/ 0 h 70"/>
                <a:gd name="T4" fmla="*/ 31 w 69"/>
                <a:gd name="T5" fmla="*/ 0 h 70"/>
                <a:gd name="T6" fmla="*/ 69 w 69"/>
                <a:gd name="T7" fmla="*/ 0 h 70"/>
                <a:gd name="T8" fmla="*/ 69 w 69"/>
                <a:gd name="T9" fmla="*/ 70 h 70"/>
                <a:gd name="T10" fmla="*/ 0 w 69"/>
                <a:gd name="T11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9" h="70">
                  <a:moveTo>
                    <a:pt x="0" y="70"/>
                  </a:moveTo>
                  <a:lnTo>
                    <a:pt x="0" y="0"/>
                  </a:lnTo>
                  <a:lnTo>
                    <a:pt x="31" y="0"/>
                  </a:lnTo>
                  <a:lnTo>
                    <a:pt x="69" y="0"/>
                  </a:lnTo>
                  <a:lnTo>
                    <a:pt x="69" y="70"/>
                  </a:lnTo>
                  <a:lnTo>
                    <a:pt x="0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" name="Freeform 9"/>
            <p:cNvSpPr>
              <a:spLocks/>
            </p:cNvSpPr>
            <p:nvPr userDrawn="1"/>
          </p:nvSpPr>
          <p:spPr bwMode="auto">
            <a:xfrm>
              <a:off x="360363" y="6659563"/>
              <a:ext cx="444500" cy="542925"/>
            </a:xfrm>
            <a:custGeom>
              <a:avLst/>
              <a:gdLst>
                <a:gd name="T0" fmla="*/ 322 w 325"/>
                <a:gd name="T1" fmla="*/ 0 h 397"/>
                <a:gd name="T2" fmla="*/ 4 w 325"/>
                <a:gd name="T3" fmla="*/ 0 h 397"/>
                <a:gd name="T4" fmla="*/ 0 w 325"/>
                <a:gd name="T5" fmla="*/ 140 h 397"/>
                <a:gd name="T6" fmla="*/ 21 w 325"/>
                <a:gd name="T7" fmla="*/ 143 h 397"/>
                <a:gd name="T8" fmla="*/ 54 w 325"/>
                <a:gd name="T9" fmla="*/ 52 h 397"/>
                <a:gd name="T10" fmla="*/ 131 w 325"/>
                <a:gd name="T11" fmla="*/ 19 h 397"/>
                <a:gd name="T12" fmla="*/ 131 w 325"/>
                <a:gd name="T13" fmla="*/ 312 h 397"/>
                <a:gd name="T14" fmla="*/ 120 w 325"/>
                <a:gd name="T15" fmla="*/ 362 h 397"/>
                <a:gd name="T16" fmla="*/ 88 w 325"/>
                <a:gd name="T17" fmla="*/ 374 h 397"/>
                <a:gd name="T18" fmla="*/ 65 w 325"/>
                <a:gd name="T19" fmla="*/ 374 h 397"/>
                <a:gd name="T20" fmla="*/ 65 w 325"/>
                <a:gd name="T21" fmla="*/ 397 h 397"/>
                <a:gd name="T22" fmla="*/ 261 w 325"/>
                <a:gd name="T23" fmla="*/ 397 h 397"/>
                <a:gd name="T24" fmla="*/ 261 w 325"/>
                <a:gd name="T25" fmla="*/ 374 h 397"/>
                <a:gd name="T26" fmla="*/ 238 w 325"/>
                <a:gd name="T27" fmla="*/ 374 h 397"/>
                <a:gd name="T28" fmla="*/ 206 w 325"/>
                <a:gd name="T29" fmla="*/ 362 h 397"/>
                <a:gd name="T30" fmla="*/ 194 w 325"/>
                <a:gd name="T31" fmla="*/ 312 h 397"/>
                <a:gd name="T32" fmla="*/ 194 w 325"/>
                <a:gd name="T33" fmla="*/ 19 h 397"/>
                <a:gd name="T34" fmla="*/ 272 w 325"/>
                <a:gd name="T35" fmla="*/ 52 h 397"/>
                <a:gd name="T36" fmla="*/ 304 w 325"/>
                <a:gd name="T37" fmla="*/ 143 h 397"/>
                <a:gd name="T38" fmla="*/ 325 w 325"/>
                <a:gd name="T39" fmla="*/ 140 h 397"/>
                <a:gd name="T40" fmla="*/ 322 w 325"/>
                <a:gd name="T41" fmla="*/ 0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25" h="397">
                  <a:moveTo>
                    <a:pt x="322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21" y="143"/>
                    <a:pt x="21" y="143"/>
                    <a:pt x="21" y="143"/>
                  </a:cubicBezTo>
                  <a:cubicBezTo>
                    <a:pt x="25" y="102"/>
                    <a:pt x="36" y="72"/>
                    <a:pt x="54" y="52"/>
                  </a:cubicBezTo>
                  <a:cubicBezTo>
                    <a:pt x="72" y="31"/>
                    <a:pt x="98" y="20"/>
                    <a:pt x="131" y="19"/>
                  </a:cubicBezTo>
                  <a:cubicBezTo>
                    <a:pt x="131" y="312"/>
                    <a:pt x="131" y="312"/>
                    <a:pt x="131" y="312"/>
                  </a:cubicBezTo>
                  <a:cubicBezTo>
                    <a:pt x="131" y="337"/>
                    <a:pt x="127" y="354"/>
                    <a:pt x="120" y="362"/>
                  </a:cubicBezTo>
                  <a:cubicBezTo>
                    <a:pt x="114" y="368"/>
                    <a:pt x="103" y="372"/>
                    <a:pt x="88" y="374"/>
                  </a:cubicBezTo>
                  <a:cubicBezTo>
                    <a:pt x="83" y="374"/>
                    <a:pt x="76" y="374"/>
                    <a:pt x="65" y="374"/>
                  </a:cubicBezTo>
                  <a:cubicBezTo>
                    <a:pt x="65" y="397"/>
                    <a:pt x="65" y="397"/>
                    <a:pt x="65" y="397"/>
                  </a:cubicBezTo>
                  <a:cubicBezTo>
                    <a:pt x="261" y="397"/>
                    <a:pt x="261" y="397"/>
                    <a:pt x="261" y="397"/>
                  </a:cubicBezTo>
                  <a:cubicBezTo>
                    <a:pt x="261" y="374"/>
                    <a:pt x="261" y="374"/>
                    <a:pt x="261" y="374"/>
                  </a:cubicBezTo>
                  <a:cubicBezTo>
                    <a:pt x="250" y="374"/>
                    <a:pt x="242" y="374"/>
                    <a:pt x="238" y="374"/>
                  </a:cubicBezTo>
                  <a:cubicBezTo>
                    <a:pt x="223" y="372"/>
                    <a:pt x="212" y="368"/>
                    <a:pt x="206" y="362"/>
                  </a:cubicBezTo>
                  <a:cubicBezTo>
                    <a:pt x="198" y="354"/>
                    <a:pt x="194" y="337"/>
                    <a:pt x="194" y="312"/>
                  </a:cubicBezTo>
                  <a:cubicBezTo>
                    <a:pt x="194" y="19"/>
                    <a:pt x="194" y="19"/>
                    <a:pt x="194" y="19"/>
                  </a:cubicBezTo>
                  <a:cubicBezTo>
                    <a:pt x="228" y="20"/>
                    <a:pt x="253" y="31"/>
                    <a:pt x="272" y="52"/>
                  </a:cubicBezTo>
                  <a:cubicBezTo>
                    <a:pt x="290" y="72"/>
                    <a:pt x="301" y="102"/>
                    <a:pt x="304" y="143"/>
                  </a:cubicBezTo>
                  <a:cubicBezTo>
                    <a:pt x="325" y="140"/>
                    <a:pt x="325" y="140"/>
                    <a:pt x="325" y="140"/>
                  </a:cubicBezTo>
                  <a:lnTo>
                    <a:pt x="32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" name="Freeform 10"/>
            <p:cNvSpPr>
              <a:spLocks/>
            </p:cNvSpPr>
            <p:nvPr userDrawn="1"/>
          </p:nvSpPr>
          <p:spPr bwMode="auto">
            <a:xfrm>
              <a:off x="1558926" y="6667500"/>
              <a:ext cx="327025" cy="547687"/>
            </a:xfrm>
            <a:custGeom>
              <a:avLst/>
              <a:gdLst>
                <a:gd name="T0" fmla="*/ 202 w 239"/>
                <a:gd name="T1" fmla="*/ 134 h 400"/>
                <a:gd name="T2" fmla="*/ 175 w 239"/>
                <a:gd name="T3" fmla="*/ 59 h 400"/>
                <a:gd name="T4" fmla="*/ 108 w 239"/>
                <a:gd name="T5" fmla="*/ 20 h 400"/>
                <a:gd name="T6" fmla="*/ 66 w 239"/>
                <a:gd name="T7" fmla="*/ 35 h 400"/>
                <a:gd name="T8" fmla="*/ 45 w 239"/>
                <a:gd name="T9" fmla="*/ 84 h 400"/>
                <a:gd name="T10" fmla="*/ 68 w 239"/>
                <a:gd name="T11" fmla="*/ 134 h 400"/>
                <a:gd name="T12" fmla="*/ 120 w 239"/>
                <a:gd name="T13" fmla="*/ 159 h 400"/>
                <a:gd name="T14" fmla="*/ 198 w 239"/>
                <a:gd name="T15" fmla="*/ 193 h 400"/>
                <a:gd name="T16" fmla="*/ 239 w 239"/>
                <a:gd name="T17" fmla="*/ 279 h 400"/>
                <a:gd name="T18" fmla="*/ 205 w 239"/>
                <a:gd name="T19" fmla="*/ 367 h 400"/>
                <a:gd name="T20" fmla="*/ 127 w 239"/>
                <a:gd name="T21" fmla="*/ 400 h 400"/>
                <a:gd name="T22" fmla="*/ 82 w 239"/>
                <a:gd name="T23" fmla="*/ 391 h 400"/>
                <a:gd name="T24" fmla="*/ 52 w 239"/>
                <a:gd name="T25" fmla="*/ 374 h 400"/>
                <a:gd name="T26" fmla="*/ 40 w 239"/>
                <a:gd name="T27" fmla="*/ 370 h 400"/>
                <a:gd name="T28" fmla="*/ 26 w 239"/>
                <a:gd name="T29" fmla="*/ 378 h 400"/>
                <a:gd name="T30" fmla="*/ 18 w 239"/>
                <a:gd name="T31" fmla="*/ 391 h 400"/>
                <a:gd name="T32" fmla="*/ 0 w 239"/>
                <a:gd name="T33" fmla="*/ 391 h 400"/>
                <a:gd name="T34" fmla="*/ 0 w 239"/>
                <a:gd name="T35" fmla="*/ 252 h 400"/>
                <a:gd name="T36" fmla="*/ 19 w 239"/>
                <a:gd name="T37" fmla="*/ 252 h 400"/>
                <a:gd name="T38" fmla="*/ 46 w 239"/>
                <a:gd name="T39" fmla="*/ 332 h 400"/>
                <a:gd name="T40" fmla="*/ 124 w 239"/>
                <a:gd name="T41" fmla="*/ 379 h 400"/>
                <a:gd name="T42" fmla="*/ 171 w 239"/>
                <a:gd name="T43" fmla="*/ 363 h 400"/>
                <a:gd name="T44" fmla="*/ 195 w 239"/>
                <a:gd name="T45" fmla="*/ 304 h 400"/>
                <a:gd name="T46" fmla="*/ 158 w 239"/>
                <a:gd name="T47" fmla="*/ 239 h 400"/>
                <a:gd name="T48" fmla="*/ 94 w 239"/>
                <a:gd name="T49" fmla="*/ 214 h 400"/>
                <a:gd name="T50" fmla="*/ 35 w 239"/>
                <a:gd name="T51" fmla="*/ 183 h 400"/>
                <a:gd name="T52" fmla="*/ 3 w 239"/>
                <a:gd name="T53" fmla="*/ 107 h 400"/>
                <a:gd name="T54" fmla="*/ 38 w 239"/>
                <a:gd name="T55" fmla="*/ 25 h 400"/>
                <a:gd name="T56" fmla="*/ 105 w 239"/>
                <a:gd name="T57" fmla="*/ 0 h 400"/>
                <a:gd name="T58" fmla="*/ 148 w 239"/>
                <a:gd name="T59" fmla="*/ 8 h 400"/>
                <a:gd name="T60" fmla="*/ 175 w 239"/>
                <a:gd name="T61" fmla="*/ 23 h 400"/>
                <a:gd name="T62" fmla="*/ 185 w 239"/>
                <a:gd name="T63" fmla="*/ 26 h 400"/>
                <a:gd name="T64" fmla="*/ 203 w 239"/>
                <a:gd name="T65" fmla="*/ 8 h 400"/>
                <a:gd name="T66" fmla="*/ 219 w 239"/>
                <a:gd name="T67" fmla="*/ 8 h 400"/>
                <a:gd name="T68" fmla="*/ 219 w 239"/>
                <a:gd name="T69" fmla="*/ 134 h 400"/>
                <a:gd name="T70" fmla="*/ 202 w 239"/>
                <a:gd name="T71" fmla="*/ 134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39" h="400">
                  <a:moveTo>
                    <a:pt x="202" y="134"/>
                  </a:moveTo>
                  <a:cubicBezTo>
                    <a:pt x="195" y="100"/>
                    <a:pt x="186" y="75"/>
                    <a:pt x="175" y="59"/>
                  </a:cubicBezTo>
                  <a:cubicBezTo>
                    <a:pt x="158" y="33"/>
                    <a:pt x="135" y="20"/>
                    <a:pt x="108" y="20"/>
                  </a:cubicBezTo>
                  <a:cubicBezTo>
                    <a:pt x="91" y="20"/>
                    <a:pt x="77" y="25"/>
                    <a:pt x="66" y="35"/>
                  </a:cubicBezTo>
                  <a:cubicBezTo>
                    <a:pt x="52" y="47"/>
                    <a:pt x="45" y="63"/>
                    <a:pt x="45" y="84"/>
                  </a:cubicBezTo>
                  <a:cubicBezTo>
                    <a:pt x="45" y="105"/>
                    <a:pt x="53" y="122"/>
                    <a:pt x="68" y="134"/>
                  </a:cubicBezTo>
                  <a:cubicBezTo>
                    <a:pt x="77" y="142"/>
                    <a:pt x="94" y="150"/>
                    <a:pt x="120" y="159"/>
                  </a:cubicBezTo>
                  <a:cubicBezTo>
                    <a:pt x="159" y="172"/>
                    <a:pt x="184" y="184"/>
                    <a:pt x="198" y="193"/>
                  </a:cubicBezTo>
                  <a:cubicBezTo>
                    <a:pt x="225" y="214"/>
                    <a:pt x="239" y="243"/>
                    <a:pt x="239" y="279"/>
                  </a:cubicBezTo>
                  <a:cubicBezTo>
                    <a:pt x="239" y="314"/>
                    <a:pt x="228" y="344"/>
                    <a:pt x="205" y="367"/>
                  </a:cubicBezTo>
                  <a:cubicBezTo>
                    <a:pt x="184" y="389"/>
                    <a:pt x="158" y="400"/>
                    <a:pt x="127" y="400"/>
                  </a:cubicBezTo>
                  <a:cubicBezTo>
                    <a:pt x="111" y="400"/>
                    <a:pt x="96" y="397"/>
                    <a:pt x="82" y="391"/>
                  </a:cubicBezTo>
                  <a:cubicBezTo>
                    <a:pt x="76" y="388"/>
                    <a:pt x="66" y="383"/>
                    <a:pt x="52" y="374"/>
                  </a:cubicBezTo>
                  <a:cubicBezTo>
                    <a:pt x="48" y="372"/>
                    <a:pt x="44" y="370"/>
                    <a:pt x="40" y="370"/>
                  </a:cubicBezTo>
                  <a:cubicBezTo>
                    <a:pt x="34" y="370"/>
                    <a:pt x="30" y="373"/>
                    <a:pt x="26" y="378"/>
                  </a:cubicBezTo>
                  <a:cubicBezTo>
                    <a:pt x="24" y="381"/>
                    <a:pt x="21" y="385"/>
                    <a:pt x="18" y="391"/>
                  </a:cubicBezTo>
                  <a:cubicBezTo>
                    <a:pt x="0" y="391"/>
                    <a:pt x="0" y="391"/>
                    <a:pt x="0" y="391"/>
                  </a:cubicBezTo>
                  <a:cubicBezTo>
                    <a:pt x="0" y="252"/>
                    <a:pt x="0" y="252"/>
                    <a:pt x="0" y="252"/>
                  </a:cubicBezTo>
                  <a:cubicBezTo>
                    <a:pt x="19" y="252"/>
                    <a:pt x="19" y="252"/>
                    <a:pt x="19" y="252"/>
                  </a:cubicBezTo>
                  <a:cubicBezTo>
                    <a:pt x="25" y="287"/>
                    <a:pt x="35" y="314"/>
                    <a:pt x="46" y="332"/>
                  </a:cubicBezTo>
                  <a:cubicBezTo>
                    <a:pt x="66" y="364"/>
                    <a:pt x="92" y="379"/>
                    <a:pt x="124" y="379"/>
                  </a:cubicBezTo>
                  <a:cubicBezTo>
                    <a:pt x="143" y="379"/>
                    <a:pt x="159" y="374"/>
                    <a:pt x="171" y="363"/>
                  </a:cubicBezTo>
                  <a:cubicBezTo>
                    <a:pt x="187" y="348"/>
                    <a:pt x="195" y="329"/>
                    <a:pt x="195" y="304"/>
                  </a:cubicBezTo>
                  <a:cubicBezTo>
                    <a:pt x="195" y="275"/>
                    <a:pt x="183" y="253"/>
                    <a:pt x="158" y="239"/>
                  </a:cubicBezTo>
                  <a:cubicBezTo>
                    <a:pt x="150" y="234"/>
                    <a:pt x="129" y="226"/>
                    <a:pt x="94" y="214"/>
                  </a:cubicBezTo>
                  <a:cubicBezTo>
                    <a:pt x="69" y="206"/>
                    <a:pt x="49" y="195"/>
                    <a:pt x="35" y="183"/>
                  </a:cubicBezTo>
                  <a:cubicBezTo>
                    <a:pt x="14" y="164"/>
                    <a:pt x="3" y="139"/>
                    <a:pt x="3" y="107"/>
                  </a:cubicBezTo>
                  <a:cubicBezTo>
                    <a:pt x="3" y="72"/>
                    <a:pt x="15" y="45"/>
                    <a:pt x="38" y="25"/>
                  </a:cubicBezTo>
                  <a:cubicBezTo>
                    <a:pt x="56" y="8"/>
                    <a:pt x="79" y="0"/>
                    <a:pt x="105" y="0"/>
                  </a:cubicBezTo>
                  <a:cubicBezTo>
                    <a:pt x="119" y="0"/>
                    <a:pt x="134" y="2"/>
                    <a:pt x="148" y="8"/>
                  </a:cubicBezTo>
                  <a:cubicBezTo>
                    <a:pt x="153" y="10"/>
                    <a:pt x="162" y="15"/>
                    <a:pt x="175" y="23"/>
                  </a:cubicBezTo>
                  <a:cubicBezTo>
                    <a:pt x="179" y="25"/>
                    <a:pt x="182" y="26"/>
                    <a:pt x="185" y="26"/>
                  </a:cubicBezTo>
                  <a:cubicBezTo>
                    <a:pt x="191" y="26"/>
                    <a:pt x="197" y="20"/>
                    <a:pt x="203" y="8"/>
                  </a:cubicBezTo>
                  <a:cubicBezTo>
                    <a:pt x="219" y="8"/>
                    <a:pt x="219" y="8"/>
                    <a:pt x="219" y="8"/>
                  </a:cubicBezTo>
                  <a:cubicBezTo>
                    <a:pt x="219" y="134"/>
                    <a:pt x="219" y="134"/>
                    <a:pt x="219" y="134"/>
                  </a:cubicBezTo>
                  <a:lnTo>
                    <a:pt x="202" y="1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auto">
            <a:xfrm>
              <a:off x="1908176" y="6842125"/>
              <a:ext cx="352425" cy="501650"/>
            </a:xfrm>
            <a:custGeom>
              <a:avLst/>
              <a:gdLst>
                <a:gd name="T0" fmla="*/ 0 w 258"/>
                <a:gd name="T1" fmla="*/ 0 h 367"/>
                <a:gd name="T2" fmla="*/ 119 w 258"/>
                <a:gd name="T3" fmla="*/ 0 h 367"/>
                <a:gd name="T4" fmla="*/ 119 w 258"/>
                <a:gd name="T5" fmla="*/ 18 h 367"/>
                <a:gd name="T6" fmla="*/ 109 w 258"/>
                <a:gd name="T7" fmla="*/ 18 h 367"/>
                <a:gd name="T8" fmla="*/ 86 w 258"/>
                <a:gd name="T9" fmla="*/ 30 h 367"/>
                <a:gd name="T10" fmla="*/ 90 w 258"/>
                <a:gd name="T11" fmla="*/ 46 h 367"/>
                <a:gd name="T12" fmla="*/ 147 w 258"/>
                <a:gd name="T13" fmla="*/ 196 h 367"/>
                <a:gd name="T14" fmla="*/ 197 w 258"/>
                <a:gd name="T15" fmla="*/ 57 h 367"/>
                <a:gd name="T16" fmla="*/ 202 w 258"/>
                <a:gd name="T17" fmla="*/ 34 h 367"/>
                <a:gd name="T18" fmla="*/ 177 w 258"/>
                <a:gd name="T19" fmla="*/ 18 h 367"/>
                <a:gd name="T20" fmla="*/ 164 w 258"/>
                <a:gd name="T21" fmla="*/ 18 h 367"/>
                <a:gd name="T22" fmla="*/ 164 w 258"/>
                <a:gd name="T23" fmla="*/ 0 h 367"/>
                <a:gd name="T24" fmla="*/ 258 w 258"/>
                <a:gd name="T25" fmla="*/ 0 h 367"/>
                <a:gd name="T26" fmla="*/ 258 w 258"/>
                <a:gd name="T27" fmla="*/ 18 h 367"/>
                <a:gd name="T28" fmla="*/ 252 w 258"/>
                <a:gd name="T29" fmla="*/ 18 h 367"/>
                <a:gd name="T30" fmla="*/ 235 w 258"/>
                <a:gd name="T31" fmla="*/ 26 h 367"/>
                <a:gd name="T32" fmla="*/ 226 w 258"/>
                <a:gd name="T33" fmla="*/ 44 h 367"/>
                <a:gd name="T34" fmla="*/ 131 w 258"/>
                <a:gd name="T35" fmla="*/ 299 h 367"/>
                <a:gd name="T36" fmla="*/ 101 w 258"/>
                <a:gd name="T37" fmla="*/ 351 h 367"/>
                <a:gd name="T38" fmla="*/ 60 w 258"/>
                <a:gd name="T39" fmla="*/ 367 h 367"/>
                <a:gd name="T40" fmla="*/ 25 w 258"/>
                <a:gd name="T41" fmla="*/ 355 h 367"/>
                <a:gd name="T42" fmla="*/ 7 w 258"/>
                <a:gd name="T43" fmla="*/ 318 h 367"/>
                <a:gd name="T44" fmla="*/ 15 w 258"/>
                <a:gd name="T45" fmla="*/ 295 h 367"/>
                <a:gd name="T46" fmla="*/ 38 w 258"/>
                <a:gd name="T47" fmla="*/ 285 h 367"/>
                <a:gd name="T48" fmla="*/ 62 w 258"/>
                <a:gd name="T49" fmla="*/ 296 h 367"/>
                <a:gd name="T50" fmla="*/ 67 w 258"/>
                <a:gd name="T51" fmla="*/ 313 h 367"/>
                <a:gd name="T52" fmla="*/ 58 w 258"/>
                <a:gd name="T53" fmla="*/ 334 h 367"/>
                <a:gd name="T54" fmla="*/ 43 w 258"/>
                <a:gd name="T55" fmla="*/ 341 h 367"/>
                <a:gd name="T56" fmla="*/ 61 w 258"/>
                <a:gd name="T57" fmla="*/ 348 h 367"/>
                <a:gd name="T58" fmla="*/ 90 w 258"/>
                <a:gd name="T59" fmla="*/ 335 h 367"/>
                <a:gd name="T60" fmla="*/ 115 w 258"/>
                <a:gd name="T61" fmla="*/ 284 h 367"/>
                <a:gd name="T62" fmla="*/ 121 w 258"/>
                <a:gd name="T63" fmla="*/ 266 h 367"/>
                <a:gd name="T64" fmla="*/ 42 w 258"/>
                <a:gd name="T65" fmla="*/ 55 h 367"/>
                <a:gd name="T66" fmla="*/ 27 w 258"/>
                <a:gd name="T67" fmla="*/ 24 h 367"/>
                <a:gd name="T68" fmla="*/ 4 w 258"/>
                <a:gd name="T69" fmla="*/ 18 h 367"/>
                <a:gd name="T70" fmla="*/ 0 w 258"/>
                <a:gd name="T71" fmla="*/ 18 h 367"/>
                <a:gd name="T72" fmla="*/ 0 w 258"/>
                <a:gd name="T73" fmla="*/ 0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58" h="367">
                  <a:moveTo>
                    <a:pt x="0" y="0"/>
                  </a:moveTo>
                  <a:cubicBezTo>
                    <a:pt x="119" y="0"/>
                    <a:pt x="119" y="0"/>
                    <a:pt x="119" y="0"/>
                  </a:cubicBezTo>
                  <a:cubicBezTo>
                    <a:pt x="119" y="18"/>
                    <a:pt x="119" y="18"/>
                    <a:pt x="119" y="18"/>
                  </a:cubicBezTo>
                  <a:cubicBezTo>
                    <a:pt x="109" y="18"/>
                    <a:pt x="109" y="18"/>
                    <a:pt x="109" y="18"/>
                  </a:cubicBezTo>
                  <a:cubicBezTo>
                    <a:pt x="93" y="18"/>
                    <a:pt x="86" y="22"/>
                    <a:pt x="86" y="30"/>
                  </a:cubicBezTo>
                  <a:cubicBezTo>
                    <a:pt x="86" y="34"/>
                    <a:pt x="87" y="39"/>
                    <a:pt x="90" y="46"/>
                  </a:cubicBezTo>
                  <a:cubicBezTo>
                    <a:pt x="147" y="196"/>
                    <a:pt x="147" y="196"/>
                    <a:pt x="147" y="196"/>
                  </a:cubicBezTo>
                  <a:cubicBezTo>
                    <a:pt x="197" y="57"/>
                    <a:pt x="197" y="57"/>
                    <a:pt x="197" y="57"/>
                  </a:cubicBezTo>
                  <a:cubicBezTo>
                    <a:pt x="200" y="47"/>
                    <a:pt x="202" y="39"/>
                    <a:pt x="202" y="34"/>
                  </a:cubicBezTo>
                  <a:cubicBezTo>
                    <a:pt x="202" y="23"/>
                    <a:pt x="194" y="18"/>
                    <a:pt x="177" y="18"/>
                  </a:cubicBezTo>
                  <a:cubicBezTo>
                    <a:pt x="164" y="18"/>
                    <a:pt x="164" y="18"/>
                    <a:pt x="164" y="18"/>
                  </a:cubicBezTo>
                  <a:cubicBezTo>
                    <a:pt x="164" y="0"/>
                    <a:pt x="164" y="0"/>
                    <a:pt x="164" y="0"/>
                  </a:cubicBezTo>
                  <a:cubicBezTo>
                    <a:pt x="258" y="0"/>
                    <a:pt x="258" y="0"/>
                    <a:pt x="258" y="0"/>
                  </a:cubicBezTo>
                  <a:cubicBezTo>
                    <a:pt x="258" y="18"/>
                    <a:pt x="258" y="18"/>
                    <a:pt x="258" y="18"/>
                  </a:cubicBezTo>
                  <a:cubicBezTo>
                    <a:pt x="252" y="18"/>
                    <a:pt x="252" y="18"/>
                    <a:pt x="252" y="18"/>
                  </a:cubicBezTo>
                  <a:cubicBezTo>
                    <a:pt x="245" y="18"/>
                    <a:pt x="240" y="20"/>
                    <a:pt x="235" y="26"/>
                  </a:cubicBezTo>
                  <a:cubicBezTo>
                    <a:pt x="232" y="29"/>
                    <a:pt x="229" y="36"/>
                    <a:pt x="226" y="44"/>
                  </a:cubicBezTo>
                  <a:cubicBezTo>
                    <a:pt x="131" y="299"/>
                    <a:pt x="131" y="299"/>
                    <a:pt x="131" y="299"/>
                  </a:cubicBezTo>
                  <a:cubicBezTo>
                    <a:pt x="122" y="323"/>
                    <a:pt x="112" y="340"/>
                    <a:pt x="101" y="351"/>
                  </a:cubicBezTo>
                  <a:cubicBezTo>
                    <a:pt x="90" y="362"/>
                    <a:pt x="76" y="367"/>
                    <a:pt x="60" y="367"/>
                  </a:cubicBezTo>
                  <a:cubicBezTo>
                    <a:pt x="46" y="367"/>
                    <a:pt x="34" y="363"/>
                    <a:pt x="25" y="355"/>
                  </a:cubicBezTo>
                  <a:cubicBezTo>
                    <a:pt x="13" y="345"/>
                    <a:pt x="7" y="333"/>
                    <a:pt x="7" y="318"/>
                  </a:cubicBezTo>
                  <a:cubicBezTo>
                    <a:pt x="7" y="309"/>
                    <a:pt x="10" y="301"/>
                    <a:pt x="15" y="295"/>
                  </a:cubicBezTo>
                  <a:cubicBezTo>
                    <a:pt x="21" y="288"/>
                    <a:pt x="28" y="285"/>
                    <a:pt x="38" y="285"/>
                  </a:cubicBezTo>
                  <a:cubicBezTo>
                    <a:pt x="49" y="285"/>
                    <a:pt x="57" y="289"/>
                    <a:pt x="62" y="296"/>
                  </a:cubicBezTo>
                  <a:cubicBezTo>
                    <a:pt x="66" y="301"/>
                    <a:pt x="67" y="306"/>
                    <a:pt x="67" y="313"/>
                  </a:cubicBezTo>
                  <a:cubicBezTo>
                    <a:pt x="67" y="321"/>
                    <a:pt x="64" y="328"/>
                    <a:pt x="58" y="334"/>
                  </a:cubicBezTo>
                  <a:cubicBezTo>
                    <a:pt x="54" y="337"/>
                    <a:pt x="49" y="340"/>
                    <a:pt x="43" y="341"/>
                  </a:cubicBezTo>
                  <a:cubicBezTo>
                    <a:pt x="48" y="345"/>
                    <a:pt x="53" y="348"/>
                    <a:pt x="61" y="348"/>
                  </a:cubicBezTo>
                  <a:cubicBezTo>
                    <a:pt x="72" y="348"/>
                    <a:pt x="82" y="343"/>
                    <a:pt x="90" y="335"/>
                  </a:cubicBezTo>
                  <a:cubicBezTo>
                    <a:pt x="97" y="327"/>
                    <a:pt x="106" y="310"/>
                    <a:pt x="115" y="284"/>
                  </a:cubicBezTo>
                  <a:cubicBezTo>
                    <a:pt x="121" y="266"/>
                    <a:pt x="121" y="266"/>
                    <a:pt x="121" y="266"/>
                  </a:cubicBezTo>
                  <a:cubicBezTo>
                    <a:pt x="42" y="55"/>
                    <a:pt x="42" y="55"/>
                    <a:pt x="42" y="55"/>
                  </a:cubicBezTo>
                  <a:cubicBezTo>
                    <a:pt x="36" y="38"/>
                    <a:pt x="31" y="28"/>
                    <a:pt x="27" y="24"/>
                  </a:cubicBezTo>
                  <a:cubicBezTo>
                    <a:pt x="21" y="20"/>
                    <a:pt x="14" y="18"/>
                    <a:pt x="4" y="18"/>
                  </a:cubicBezTo>
                  <a:cubicBezTo>
                    <a:pt x="0" y="18"/>
                    <a:pt x="0" y="18"/>
                    <a:pt x="0" y="18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" name="Freeform 12"/>
            <p:cNvSpPr>
              <a:spLocks/>
            </p:cNvSpPr>
            <p:nvPr userDrawn="1"/>
          </p:nvSpPr>
          <p:spPr bwMode="auto">
            <a:xfrm>
              <a:off x="2265363" y="6834188"/>
              <a:ext cx="252413" cy="376237"/>
            </a:xfrm>
            <a:custGeom>
              <a:avLst/>
              <a:gdLst>
                <a:gd name="T0" fmla="*/ 168 w 184"/>
                <a:gd name="T1" fmla="*/ 6 h 275"/>
                <a:gd name="T2" fmla="*/ 168 w 184"/>
                <a:gd name="T3" fmla="*/ 89 h 275"/>
                <a:gd name="T4" fmla="*/ 151 w 184"/>
                <a:gd name="T5" fmla="*/ 89 h 275"/>
                <a:gd name="T6" fmla="*/ 84 w 184"/>
                <a:gd name="T7" fmla="*/ 17 h 275"/>
                <a:gd name="T8" fmla="*/ 53 w 184"/>
                <a:gd name="T9" fmla="*/ 28 h 275"/>
                <a:gd name="T10" fmla="*/ 41 w 184"/>
                <a:gd name="T11" fmla="*/ 57 h 275"/>
                <a:gd name="T12" fmla="*/ 58 w 184"/>
                <a:gd name="T13" fmla="*/ 88 h 275"/>
                <a:gd name="T14" fmla="*/ 89 w 184"/>
                <a:gd name="T15" fmla="*/ 101 h 275"/>
                <a:gd name="T16" fmla="*/ 152 w 184"/>
                <a:gd name="T17" fmla="*/ 128 h 275"/>
                <a:gd name="T18" fmla="*/ 184 w 184"/>
                <a:gd name="T19" fmla="*/ 191 h 275"/>
                <a:gd name="T20" fmla="*/ 157 w 184"/>
                <a:gd name="T21" fmla="*/ 255 h 275"/>
                <a:gd name="T22" fmla="*/ 98 w 184"/>
                <a:gd name="T23" fmla="*/ 275 h 275"/>
                <a:gd name="T24" fmla="*/ 60 w 184"/>
                <a:gd name="T25" fmla="*/ 268 h 275"/>
                <a:gd name="T26" fmla="*/ 34 w 184"/>
                <a:gd name="T27" fmla="*/ 254 h 275"/>
                <a:gd name="T28" fmla="*/ 26 w 184"/>
                <a:gd name="T29" fmla="*/ 252 h 275"/>
                <a:gd name="T30" fmla="*/ 16 w 184"/>
                <a:gd name="T31" fmla="*/ 270 h 275"/>
                <a:gd name="T32" fmla="*/ 0 w 184"/>
                <a:gd name="T33" fmla="*/ 270 h 275"/>
                <a:gd name="T34" fmla="*/ 0 w 184"/>
                <a:gd name="T35" fmla="*/ 172 h 275"/>
                <a:gd name="T36" fmla="*/ 16 w 184"/>
                <a:gd name="T37" fmla="*/ 172 h 275"/>
                <a:gd name="T38" fmla="*/ 37 w 184"/>
                <a:gd name="T39" fmla="*/ 224 h 275"/>
                <a:gd name="T40" fmla="*/ 63 w 184"/>
                <a:gd name="T41" fmla="*/ 248 h 275"/>
                <a:gd name="T42" fmla="*/ 97 w 184"/>
                <a:gd name="T43" fmla="*/ 257 h 275"/>
                <a:gd name="T44" fmla="*/ 132 w 184"/>
                <a:gd name="T45" fmla="*/ 242 h 275"/>
                <a:gd name="T46" fmla="*/ 144 w 184"/>
                <a:gd name="T47" fmla="*/ 210 h 275"/>
                <a:gd name="T48" fmla="*/ 120 w 184"/>
                <a:gd name="T49" fmla="*/ 170 h 275"/>
                <a:gd name="T50" fmla="*/ 70 w 184"/>
                <a:gd name="T51" fmla="*/ 149 h 275"/>
                <a:gd name="T52" fmla="*/ 28 w 184"/>
                <a:gd name="T53" fmla="*/ 128 h 275"/>
                <a:gd name="T54" fmla="*/ 3 w 184"/>
                <a:gd name="T55" fmla="*/ 72 h 275"/>
                <a:gd name="T56" fmla="*/ 26 w 184"/>
                <a:gd name="T57" fmla="*/ 19 h 275"/>
                <a:gd name="T58" fmla="*/ 80 w 184"/>
                <a:gd name="T59" fmla="*/ 0 h 275"/>
                <a:gd name="T60" fmla="*/ 134 w 184"/>
                <a:gd name="T61" fmla="*/ 16 h 275"/>
                <a:gd name="T62" fmla="*/ 143 w 184"/>
                <a:gd name="T63" fmla="*/ 19 h 275"/>
                <a:gd name="T64" fmla="*/ 151 w 184"/>
                <a:gd name="T65" fmla="*/ 6 h 275"/>
                <a:gd name="T66" fmla="*/ 168 w 184"/>
                <a:gd name="T67" fmla="*/ 6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84" h="275">
                  <a:moveTo>
                    <a:pt x="168" y="6"/>
                  </a:moveTo>
                  <a:cubicBezTo>
                    <a:pt x="168" y="89"/>
                    <a:pt x="168" y="89"/>
                    <a:pt x="168" y="89"/>
                  </a:cubicBezTo>
                  <a:cubicBezTo>
                    <a:pt x="151" y="89"/>
                    <a:pt x="151" y="89"/>
                    <a:pt x="151" y="89"/>
                  </a:cubicBezTo>
                  <a:cubicBezTo>
                    <a:pt x="142" y="41"/>
                    <a:pt x="119" y="17"/>
                    <a:pt x="84" y="17"/>
                  </a:cubicBezTo>
                  <a:cubicBezTo>
                    <a:pt x="71" y="17"/>
                    <a:pt x="61" y="21"/>
                    <a:pt x="53" y="28"/>
                  </a:cubicBezTo>
                  <a:cubicBezTo>
                    <a:pt x="45" y="36"/>
                    <a:pt x="41" y="46"/>
                    <a:pt x="41" y="57"/>
                  </a:cubicBezTo>
                  <a:cubicBezTo>
                    <a:pt x="41" y="70"/>
                    <a:pt x="47" y="80"/>
                    <a:pt x="58" y="88"/>
                  </a:cubicBezTo>
                  <a:cubicBezTo>
                    <a:pt x="64" y="92"/>
                    <a:pt x="74" y="96"/>
                    <a:pt x="89" y="101"/>
                  </a:cubicBezTo>
                  <a:cubicBezTo>
                    <a:pt x="120" y="111"/>
                    <a:pt x="142" y="120"/>
                    <a:pt x="152" y="128"/>
                  </a:cubicBezTo>
                  <a:cubicBezTo>
                    <a:pt x="173" y="144"/>
                    <a:pt x="184" y="165"/>
                    <a:pt x="184" y="191"/>
                  </a:cubicBezTo>
                  <a:cubicBezTo>
                    <a:pt x="184" y="217"/>
                    <a:pt x="175" y="238"/>
                    <a:pt x="157" y="255"/>
                  </a:cubicBezTo>
                  <a:cubicBezTo>
                    <a:pt x="141" y="269"/>
                    <a:pt x="122" y="275"/>
                    <a:pt x="98" y="275"/>
                  </a:cubicBezTo>
                  <a:cubicBezTo>
                    <a:pt x="84" y="275"/>
                    <a:pt x="71" y="273"/>
                    <a:pt x="60" y="268"/>
                  </a:cubicBezTo>
                  <a:cubicBezTo>
                    <a:pt x="55" y="266"/>
                    <a:pt x="46" y="262"/>
                    <a:pt x="34" y="254"/>
                  </a:cubicBezTo>
                  <a:cubicBezTo>
                    <a:pt x="31" y="253"/>
                    <a:pt x="28" y="252"/>
                    <a:pt x="26" y="252"/>
                  </a:cubicBezTo>
                  <a:cubicBezTo>
                    <a:pt x="23" y="252"/>
                    <a:pt x="19" y="258"/>
                    <a:pt x="16" y="270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172"/>
                    <a:pt x="0" y="172"/>
                    <a:pt x="0" y="172"/>
                  </a:cubicBezTo>
                  <a:cubicBezTo>
                    <a:pt x="16" y="172"/>
                    <a:pt x="16" y="172"/>
                    <a:pt x="16" y="172"/>
                  </a:cubicBezTo>
                  <a:cubicBezTo>
                    <a:pt x="23" y="196"/>
                    <a:pt x="30" y="214"/>
                    <a:pt x="37" y="224"/>
                  </a:cubicBezTo>
                  <a:cubicBezTo>
                    <a:pt x="44" y="234"/>
                    <a:pt x="53" y="242"/>
                    <a:pt x="63" y="248"/>
                  </a:cubicBezTo>
                  <a:cubicBezTo>
                    <a:pt x="74" y="254"/>
                    <a:pt x="85" y="257"/>
                    <a:pt x="97" y="257"/>
                  </a:cubicBezTo>
                  <a:cubicBezTo>
                    <a:pt x="112" y="257"/>
                    <a:pt x="123" y="252"/>
                    <a:pt x="132" y="242"/>
                  </a:cubicBezTo>
                  <a:cubicBezTo>
                    <a:pt x="140" y="233"/>
                    <a:pt x="144" y="222"/>
                    <a:pt x="144" y="210"/>
                  </a:cubicBezTo>
                  <a:cubicBezTo>
                    <a:pt x="144" y="193"/>
                    <a:pt x="136" y="179"/>
                    <a:pt x="120" y="170"/>
                  </a:cubicBezTo>
                  <a:cubicBezTo>
                    <a:pt x="112" y="164"/>
                    <a:pt x="95" y="158"/>
                    <a:pt x="70" y="149"/>
                  </a:cubicBezTo>
                  <a:cubicBezTo>
                    <a:pt x="53" y="144"/>
                    <a:pt x="39" y="137"/>
                    <a:pt x="28" y="128"/>
                  </a:cubicBezTo>
                  <a:cubicBezTo>
                    <a:pt x="11" y="115"/>
                    <a:pt x="3" y="97"/>
                    <a:pt x="3" y="72"/>
                  </a:cubicBezTo>
                  <a:cubicBezTo>
                    <a:pt x="3" y="50"/>
                    <a:pt x="10" y="32"/>
                    <a:pt x="26" y="19"/>
                  </a:cubicBezTo>
                  <a:cubicBezTo>
                    <a:pt x="40" y="6"/>
                    <a:pt x="58" y="0"/>
                    <a:pt x="80" y="0"/>
                  </a:cubicBezTo>
                  <a:cubicBezTo>
                    <a:pt x="99" y="0"/>
                    <a:pt x="117" y="5"/>
                    <a:pt x="134" y="16"/>
                  </a:cubicBezTo>
                  <a:cubicBezTo>
                    <a:pt x="138" y="18"/>
                    <a:pt x="141" y="19"/>
                    <a:pt x="143" y="19"/>
                  </a:cubicBezTo>
                  <a:cubicBezTo>
                    <a:pt x="146" y="19"/>
                    <a:pt x="149" y="14"/>
                    <a:pt x="151" y="6"/>
                  </a:cubicBezTo>
                  <a:lnTo>
                    <a:pt x="168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" name="Freeform 13"/>
            <p:cNvSpPr>
              <a:spLocks/>
            </p:cNvSpPr>
            <p:nvPr userDrawn="1"/>
          </p:nvSpPr>
          <p:spPr bwMode="auto">
            <a:xfrm>
              <a:off x="2527301" y="6704013"/>
              <a:ext cx="239713" cy="506412"/>
            </a:xfrm>
            <a:custGeom>
              <a:avLst/>
              <a:gdLst>
                <a:gd name="T0" fmla="*/ 90 w 176"/>
                <a:gd name="T1" fmla="*/ 119 h 369"/>
                <a:gd name="T2" fmla="*/ 90 w 176"/>
                <a:gd name="T3" fmla="*/ 278 h 369"/>
                <a:gd name="T4" fmla="*/ 94 w 176"/>
                <a:gd name="T5" fmla="*/ 323 h 369"/>
                <a:gd name="T6" fmla="*/ 122 w 176"/>
                <a:gd name="T7" fmla="*/ 345 h 369"/>
                <a:gd name="T8" fmla="*/ 149 w 176"/>
                <a:gd name="T9" fmla="*/ 326 h 369"/>
                <a:gd name="T10" fmla="*/ 157 w 176"/>
                <a:gd name="T11" fmla="*/ 281 h 369"/>
                <a:gd name="T12" fmla="*/ 157 w 176"/>
                <a:gd name="T13" fmla="*/ 273 h 369"/>
                <a:gd name="T14" fmla="*/ 176 w 176"/>
                <a:gd name="T15" fmla="*/ 273 h 369"/>
                <a:gd name="T16" fmla="*/ 176 w 176"/>
                <a:gd name="T17" fmla="*/ 284 h 369"/>
                <a:gd name="T18" fmla="*/ 159 w 176"/>
                <a:gd name="T19" fmla="*/ 347 h 369"/>
                <a:gd name="T20" fmla="*/ 108 w 176"/>
                <a:gd name="T21" fmla="*/ 369 h 369"/>
                <a:gd name="T22" fmla="*/ 58 w 176"/>
                <a:gd name="T23" fmla="*/ 350 h 369"/>
                <a:gd name="T24" fmla="*/ 43 w 176"/>
                <a:gd name="T25" fmla="*/ 315 h 369"/>
                <a:gd name="T26" fmla="*/ 42 w 176"/>
                <a:gd name="T27" fmla="*/ 278 h 369"/>
                <a:gd name="T28" fmla="*/ 42 w 176"/>
                <a:gd name="T29" fmla="*/ 119 h 369"/>
                <a:gd name="T30" fmla="*/ 0 w 176"/>
                <a:gd name="T31" fmla="*/ 119 h 369"/>
                <a:gd name="T32" fmla="*/ 0 w 176"/>
                <a:gd name="T33" fmla="*/ 103 h 369"/>
                <a:gd name="T34" fmla="*/ 54 w 176"/>
                <a:gd name="T35" fmla="*/ 72 h 369"/>
                <a:gd name="T36" fmla="*/ 74 w 176"/>
                <a:gd name="T37" fmla="*/ 0 h 369"/>
                <a:gd name="T38" fmla="*/ 90 w 176"/>
                <a:gd name="T39" fmla="*/ 0 h 369"/>
                <a:gd name="T40" fmla="*/ 90 w 176"/>
                <a:gd name="T41" fmla="*/ 100 h 369"/>
                <a:gd name="T42" fmla="*/ 167 w 176"/>
                <a:gd name="T43" fmla="*/ 100 h 369"/>
                <a:gd name="T44" fmla="*/ 167 w 176"/>
                <a:gd name="T45" fmla="*/ 119 h 369"/>
                <a:gd name="T46" fmla="*/ 90 w 176"/>
                <a:gd name="T47" fmla="*/ 119 h 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6" h="369">
                  <a:moveTo>
                    <a:pt x="90" y="119"/>
                  </a:moveTo>
                  <a:cubicBezTo>
                    <a:pt x="90" y="278"/>
                    <a:pt x="90" y="278"/>
                    <a:pt x="90" y="278"/>
                  </a:cubicBezTo>
                  <a:cubicBezTo>
                    <a:pt x="90" y="299"/>
                    <a:pt x="92" y="314"/>
                    <a:pt x="94" y="323"/>
                  </a:cubicBezTo>
                  <a:cubicBezTo>
                    <a:pt x="99" y="338"/>
                    <a:pt x="108" y="345"/>
                    <a:pt x="122" y="345"/>
                  </a:cubicBezTo>
                  <a:cubicBezTo>
                    <a:pt x="134" y="345"/>
                    <a:pt x="143" y="339"/>
                    <a:pt x="149" y="326"/>
                  </a:cubicBezTo>
                  <a:cubicBezTo>
                    <a:pt x="154" y="314"/>
                    <a:pt x="157" y="299"/>
                    <a:pt x="157" y="281"/>
                  </a:cubicBezTo>
                  <a:cubicBezTo>
                    <a:pt x="157" y="273"/>
                    <a:pt x="157" y="273"/>
                    <a:pt x="157" y="273"/>
                  </a:cubicBezTo>
                  <a:cubicBezTo>
                    <a:pt x="176" y="273"/>
                    <a:pt x="176" y="273"/>
                    <a:pt x="176" y="273"/>
                  </a:cubicBezTo>
                  <a:cubicBezTo>
                    <a:pt x="176" y="284"/>
                    <a:pt x="176" y="284"/>
                    <a:pt x="176" y="284"/>
                  </a:cubicBezTo>
                  <a:cubicBezTo>
                    <a:pt x="176" y="310"/>
                    <a:pt x="170" y="331"/>
                    <a:pt x="159" y="347"/>
                  </a:cubicBezTo>
                  <a:cubicBezTo>
                    <a:pt x="148" y="362"/>
                    <a:pt x="131" y="369"/>
                    <a:pt x="108" y="369"/>
                  </a:cubicBezTo>
                  <a:cubicBezTo>
                    <a:pt x="85" y="369"/>
                    <a:pt x="69" y="363"/>
                    <a:pt x="58" y="350"/>
                  </a:cubicBezTo>
                  <a:cubicBezTo>
                    <a:pt x="50" y="340"/>
                    <a:pt x="45" y="329"/>
                    <a:pt x="43" y="315"/>
                  </a:cubicBezTo>
                  <a:cubicBezTo>
                    <a:pt x="42" y="305"/>
                    <a:pt x="42" y="293"/>
                    <a:pt x="42" y="278"/>
                  </a:cubicBezTo>
                  <a:cubicBezTo>
                    <a:pt x="42" y="119"/>
                    <a:pt x="42" y="119"/>
                    <a:pt x="42" y="119"/>
                  </a:cubicBezTo>
                  <a:cubicBezTo>
                    <a:pt x="0" y="119"/>
                    <a:pt x="0" y="119"/>
                    <a:pt x="0" y="119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27" y="97"/>
                    <a:pt x="45" y="86"/>
                    <a:pt x="54" y="72"/>
                  </a:cubicBezTo>
                  <a:cubicBezTo>
                    <a:pt x="64" y="57"/>
                    <a:pt x="71" y="33"/>
                    <a:pt x="74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0" y="100"/>
                    <a:pt x="90" y="100"/>
                    <a:pt x="90" y="100"/>
                  </a:cubicBezTo>
                  <a:cubicBezTo>
                    <a:pt x="167" y="100"/>
                    <a:pt x="167" y="100"/>
                    <a:pt x="167" y="100"/>
                  </a:cubicBezTo>
                  <a:cubicBezTo>
                    <a:pt x="167" y="119"/>
                    <a:pt x="167" y="119"/>
                    <a:pt x="167" y="119"/>
                  </a:cubicBezTo>
                  <a:lnTo>
                    <a:pt x="90" y="1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" name="Freeform 14"/>
            <p:cNvSpPr>
              <a:spLocks noEditPoints="1"/>
            </p:cNvSpPr>
            <p:nvPr userDrawn="1"/>
          </p:nvSpPr>
          <p:spPr bwMode="auto">
            <a:xfrm>
              <a:off x="2790826" y="6831013"/>
              <a:ext cx="285750" cy="382587"/>
            </a:xfrm>
            <a:custGeom>
              <a:avLst/>
              <a:gdLst>
                <a:gd name="T0" fmla="*/ 210 w 210"/>
                <a:gd name="T1" fmla="*/ 138 h 280"/>
                <a:gd name="T2" fmla="*/ 53 w 210"/>
                <a:gd name="T3" fmla="*/ 138 h 280"/>
                <a:gd name="T4" fmla="*/ 65 w 210"/>
                <a:gd name="T5" fmla="*/ 220 h 280"/>
                <a:gd name="T6" fmla="*/ 119 w 210"/>
                <a:gd name="T7" fmla="*/ 257 h 280"/>
                <a:gd name="T8" fmla="*/ 168 w 210"/>
                <a:gd name="T9" fmla="*/ 234 h 280"/>
                <a:gd name="T10" fmla="*/ 190 w 210"/>
                <a:gd name="T11" fmla="*/ 198 h 280"/>
                <a:gd name="T12" fmla="*/ 207 w 210"/>
                <a:gd name="T13" fmla="*/ 207 h 280"/>
                <a:gd name="T14" fmla="*/ 110 w 210"/>
                <a:gd name="T15" fmla="*/ 280 h 280"/>
                <a:gd name="T16" fmla="*/ 36 w 210"/>
                <a:gd name="T17" fmla="*/ 249 h 280"/>
                <a:gd name="T18" fmla="*/ 0 w 210"/>
                <a:gd name="T19" fmla="*/ 138 h 280"/>
                <a:gd name="T20" fmla="*/ 36 w 210"/>
                <a:gd name="T21" fmla="*/ 31 h 280"/>
                <a:gd name="T22" fmla="*/ 104 w 210"/>
                <a:gd name="T23" fmla="*/ 0 h 280"/>
                <a:gd name="T24" fmla="*/ 193 w 210"/>
                <a:gd name="T25" fmla="*/ 59 h 280"/>
                <a:gd name="T26" fmla="*/ 210 w 210"/>
                <a:gd name="T27" fmla="*/ 138 h 280"/>
                <a:gd name="T28" fmla="*/ 157 w 210"/>
                <a:gd name="T29" fmla="*/ 118 h 280"/>
                <a:gd name="T30" fmla="*/ 150 w 210"/>
                <a:gd name="T31" fmla="*/ 60 h 280"/>
                <a:gd name="T32" fmla="*/ 107 w 210"/>
                <a:gd name="T33" fmla="*/ 20 h 280"/>
                <a:gd name="T34" fmla="*/ 60 w 210"/>
                <a:gd name="T35" fmla="*/ 69 h 280"/>
                <a:gd name="T36" fmla="*/ 54 w 210"/>
                <a:gd name="T37" fmla="*/ 118 h 280"/>
                <a:gd name="T38" fmla="*/ 157 w 210"/>
                <a:gd name="T39" fmla="*/ 118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10" h="280">
                  <a:moveTo>
                    <a:pt x="210" y="138"/>
                  </a:moveTo>
                  <a:cubicBezTo>
                    <a:pt x="53" y="138"/>
                    <a:pt x="53" y="138"/>
                    <a:pt x="53" y="138"/>
                  </a:cubicBezTo>
                  <a:cubicBezTo>
                    <a:pt x="54" y="175"/>
                    <a:pt x="58" y="202"/>
                    <a:pt x="65" y="220"/>
                  </a:cubicBezTo>
                  <a:cubicBezTo>
                    <a:pt x="75" y="245"/>
                    <a:pt x="93" y="257"/>
                    <a:pt x="119" y="257"/>
                  </a:cubicBezTo>
                  <a:cubicBezTo>
                    <a:pt x="139" y="257"/>
                    <a:pt x="155" y="249"/>
                    <a:pt x="168" y="234"/>
                  </a:cubicBezTo>
                  <a:cubicBezTo>
                    <a:pt x="176" y="225"/>
                    <a:pt x="183" y="213"/>
                    <a:pt x="190" y="198"/>
                  </a:cubicBezTo>
                  <a:cubicBezTo>
                    <a:pt x="207" y="207"/>
                    <a:pt x="207" y="207"/>
                    <a:pt x="207" y="207"/>
                  </a:cubicBezTo>
                  <a:cubicBezTo>
                    <a:pt x="183" y="256"/>
                    <a:pt x="151" y="280"/>
                    <a:pt x="110" y="280"/>
                  </a:cubicBezTo>
                  <a:cubicBezTo>
                    <a:pt x="80" y="280"/>
                    <a:pt x="55" y="269"/>
                    <a:pt x="36" y="249"/>
                  </a:cubicBezTo>
                  <a:cubicBezTo>
                    <a:pt x="12" y="223"/>
                    <a:pt x="0" y="186"/>
                    <a:pt x="0" y="138"/>
                  </a:cubicBezTo>
                  <a:cubicBezTo>
                    <a:pt x="0" y="94"/>
                    <a:pt x="12" y="58"/>
                    <a:pt x="36" y="31"/>
                  </a:cubicBezTo>
                  <a:cubicBezTo>
                    <a:pt x="55" y="10"/>
                    <a:pt x="77" y="0"/>
                    <a:pt x="104" y="0"/>
                  </a:cubicBezTo>
                  <a:cubicBezTo>
                    <a:pt x="143" y="0"/>
                    <a:pt x="173" y="19"/>
                    <a:pt x="193" y="59"/>
                  </a:cubicBezTo>
                  <a:cubicBezTo>
                    <a:pt x="203" y="80"/>
                    <a:pt x="209" y="106"/>
                    <a:pt x="210" y="138"/>
                  </a:cubicBezTo>
                  <a:close/>
                  <a:moveTo>
                    <a:pt x="157" y="118"/>
                  </a:moveTo>
                  <a:cubicBezTo>
                    <a:pt x="157" y="94"/>
                    <a:pt x="155" y="75"/>
                    <a:pt x="150" y="60"/>
                  </a:cubicBezTo>
                  <a:cubicBezTo>
                    <a:pt x="141" y="33"/>
                    <a:pt x="126" y="20"/>
                    <a:pt x="107" y="20"/>
                  </a:cubicBezTo>
                  <a:cubicBezTo>
                    <a:pt x="85" y="20"/>
                    <a:pt x="69" y="36"/>
                    <a:pt x="60" y="69"/>
                  </a:cubicBezTo>
                  <a:cubicBezTo>
                    <a:pt x="56" y="82"/>
                    <a:pt x="54" y="99"/>
                    <a:pt x="54" y="118"/>
                  </a:cubicBezTo>
                  <a:lnTo>
                    <a:pt x="157" y="1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" name="Freeform 15"/>
            <p:cNvSpPr>
              <a:spLocks/>
            </p:cNvSpPr>
            <p:nvPr userDrawn="1"/>
          </p:nvSpPr>
          <p:spPr bwMode="auto">
            <a:xfrm>
              <a:off x="3103563" y="6834188"/>
              <a:ext cx="541338" cy="368300"/>
            </a:xfrm>
            <a:custGeom>
              <a:avLst/>
              <a:gdLst>
                <a:gd name="T0" fmla="*/ 312 w 396"/>
                <a:gd name="T1" fmla="*/ 270 h 270"/>
                <a:gd name="T2" fmla="*/ 312 w 396"/>
                <a:gd name="T3" fmla="*/ 108 h 270"/>
                <a:gd name="T4" fmla="*/ 305 w 396"/>
                <a:gd name="T5" fmla="*/ 44 h 270"/>
                <a:gd name="T6" fmla="*/ 275 w 396"/>
                <a:gd name="T7" fmla="*/ 25 h 270"/>
                <a:gd name="T8" fmla="*/ 236 w 396"/>
                <a:gd name="T9" fmla="*/ 52 h 270"/>
                <a:gd name="T10" fmla="*/ 225 w 396"/>
                <a:gd name="T11" fmla="*/ 84 h 270"/>
                <a:gd name="T12" fmla="*/ 223 w 396"/>
                <a:gd name="T13" fmla="*/ 134 h 270"/>
                <a:gd name="T14" fmla="*/ 223 w 396"/>
                <a:gd name="T15" fmla="*/ 205 h 270"/>
                <a:gd name="T16" fmla="*/ 230 w 396"/>
                <a:gd name="T17" fmla="*/ 245 h 270"/>
                <a:gd name="T18" fmla="*/ 252 w 396"/>
                <a:gd name="T19" fmla="*/ 252 h 270"/>
                <a:gd name="T20" fmla="*/ 261 w 396"/>
                <a:gd name="T21" fmla="*/ 252 h 270"/>
                <a:gd name="T22" fmla="*/ 261 w 396"/>
                <a:gd name="T23" fmla="*/ 270 h 270"/>
                <a:gd name="T24" fmla="*/ 175 w 396"/>
                <a:gd name="T25" fmla="*/ 270 h 270"/>
                <a:gd name="T26" fmla="*/ 175 w 396"/>
                <a:gd name="T27" fmla="*/ 117 h 270"/>
                <a:gd name="T28" fmla="*/ 173 w 396"/>
                <a:gd name="T29" fmla="*/ 66 h 270"/>
                <a:gd name="T30" fmla="*/ 137 w 396"/>
                <a:gd name="T31" fmla="*/ 25 h 270"/>
                <a:gd name="T32" fmla="*/ 99 w 396"/>
                <a:gd name="T33" fmla="*/ 53 h 270"/>
                <a:gd name="T34" fmla="*/ 89 w 396"/>
                <a:gd name="T35" fmla="*/ 81 h 270"/>
                <a:gd name="T36" fmla="*/ 86 w 396"/>
                <a:gd name="T37" fmla="*/ 134 h 270"/>
                <a:gd name="T38" fmla="*/ 86 w 396"/>
                <a:gd name="T39" fmla="*/ 205 h 270"/>
                <a:gd name="T40" fmla="*/ 93 w 396"/>
                <a:gd name="T41" fmla="*/ 245 h 270"/>
                <a:gd name="T42" fmla="*/ 116 w 396"/>
                <a:gd name="T43" fmla="*/ 252 h 270"/>
                <a:gd name="T44" fmla="*/ 124 w 396"/>
                <a:gd name="T45" fmla="*/ 252 h 270"/>
                <a:gd name="T46" fmla="*/ 124 w 396"/>
                <a:gd name="T47" fmla="*/ 270 h 270"/>
                <a:gd name="T48" fmla="*/ 0 w 396"/>
                <a:gd name="T49" fmla="*/ 270 h 270"/>
                <a:gd name="T50" fmla="*/ 0 w 396"/>
                <a:gd name="T51" fmla="*/ 252 h 270"/>
                <a:gd name="T52" fmla="*/ 9 w 396"/>
                <a:gd name="T53" fmla="*/ 252 h 270"/>
                <a:gd name="T54" fmla="*/ 31 w 396"/>
                <a:gd name="T55" fmla="*/ 245 h 270"/>
                <a:gd name="T56" fmla="*/ 38 w 396"/>
                <a:gd name="T57" fmla="*/ 205 h 270"/>
                <a:gd name="T58" fmla="*/ 38 w 396"/>
                <a:gd name="T59" fmla="*/ 69 h 270"/>
                <a:gd name="T60" fmla="*/ 31 w 396"/>
                <a:gd name="T61" fmla="*/ 30 h 270"/>
                <a:gd name="T62" fmla="*/ 9 w 396"/>
                <a:gd name="T63" fmla="*/ 24 h 270"/>
                <a:gd name="T64" fmla="*/ 2 w 396"/>
                <a:gd name="T65" fmla="*/ 24 h 270"/>
                <a:gd name="T66" fmla="*/ 2 w 396"/>
                <a:gd name="T67" fmla="*/ 6 h 270"/>
                <a:gd name="T68" fmla="*/ 83 w 396"/>
                <a:gd name="T69" fmla="*/ 2 h 270"/>
                <a:gd name="T70" fmla="*/ 83 w 396"/>
                <a:gd name="T71" fmla="*/ 49 h 270"/>
                <a:gd name="T72" fmla="*/ 99 w 396"/>
                <a:gd name="T73" fmla="*/ 23 h 270"/>
                <a:gd name="T74" fmla="*/ 150 w 396"/>
                <a:gd name="T75" fmla="*/ 0 h 270"/>
                <a:gd name="T76" fmla="*/ 217 w 396"/>
                <a:gd name="T77" fmla="*/ 52 h 270"/>
                <a:gd name="T78" fmla="*/ 288 w 396"/>
                <a:gd name="T79" fmla="*/ 0 h 270"/>
                <a:gd name="T80" fmla="*/ 346 w 396"/>
                <a:gd name="T81" fmla="*/ 30 h 270"/>
                <a:gd name="T82" fmla="*/ 358 w 396"/>
                <a:gd name="T83" fmla="*/ 66 h 270"/>
                <a:gd name="T84" fmla="*/ 360 w 396"/>
                <a:gd name="T85" fmla="*/ 102 h 270"/>
                <a:gd name="T86" fmla="*/ 360 w 396"/>
                <a:gd name="T87" fmla="*/ 205 h 270"/>
                <a:gd name="T88" fmla="*/ 367 w 396"/>
                <a:gd name="T89" fmla="*/ 245 h 270"/>
                <a:gd name="T90" fmla="*/ 389 w 396"/>
                <a:gd name="T91" fmla="*/ 252 h 270"/>
                <a:gd name="T92" fmla="*/ 396 w 396"/>
                <a:gd name="T93" fmla="*/ 252 h 270"/>
                <a:gd name="T94" fmla="*/ 396 w 396"/>
                <a:gd name="T95" fmla="*/ 270 h 270"/>
                <a:gd name="T96" fmla="*/ 312 w 396"/>
                <a:gd name="T97" fmla="*/ 27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96" h="270">
                  <a:moveTo>
                    <a:pt x="312" y="270"/>
                  </a:moveTo>
                  <a:cubicBezTo>
                    <a:pt x="312" y="108"/>
                    <a:pt x="312" y="108"/>
                    <a:pt x="312" y="108"/>
                  </a:cubicBezTo>
                  <a:cubicBezTo>
                    <a:pt x="312" y="75"/>
                    <a:pt x="309" y="54"/>
                    <a:pt x="305" y="44"/>
                  </a:cubicBezTo>
                  <a:cubicBezTo>
                    <a:pt x="298" y="31"/>
                    <a:pt x="288" y="25"/>
                    <a:pt x="275" y="25"/>
                  </a:cubicBezTo>
                  <a:cubicBezTo>
                    <a:pt x="259" y="25"/>
                    <a:pt x="246" y="34"/>
                    <a:pt x="236" y="52"/>
                  </a:cubicBezTo>
                  <a:cubicBezTo>
                    <a:pt x="231" y="62"/>
                    <a:pt x="227" y="73"/>
                    <a:pt x="225" y="84"/>
                  </a:cubicBezTo>
                  <a:cubicBezTo>
                    <a:pt x="224" y="93"/>
                    <a:pt x="223" y="109"/>
                    <a:pt x="223" y="134"/>
                  </a:cubicBezTo>
                  <a:cubicBezTo>
                    <a:pt x="223" y="205"/>
                    <a:pt x="223" y="205"/>
                    <a:pt x="223" y="205"/>
                  </a:cubicBezTo>
                  <a:cubicBezTo>
                    <a:pt x="223" y="226"/>
                    <a:pt x="226" y="240"/>
                    <a:pt x="230" y="245"/>
                  </a:cubicBezTo>
                  <a:cubicBezTo>
                    <a:pt x="234" y="250"/>
                    <a:pt x="242" y="252"/>
                    <a:pt x="252" y="252"/>
                  </a:cubicBezTo>
                  <a:cubicBezTo>
                    <a:pt x="261" y="252"/>
                    <a:pt x="261" y="252"/>
                    <a:pt x="261" y="252"/>
                  </a:cubicBezTo>
                  <a:cubicBezTo>
                    <a:pt x="261" y="270"/>
                    <a:pt x="261" y="270"/>
                    <a:pt x="261" y="270"/>
                  </a:cubicBezTo>
                  <a:cubicBezTo>
                    <a:pt x="175" y="270"/>
                    <a:pt x="175" y="270"/>
                    <a:pt x="175" y="270"/>
                  </a:cubicBezTo>
                  <a:cubicBezTo>
                    <a:pt x="175" y="117"/>
                    <a:pt x="175" y="117"/>
                    <a:pt x="175" y="117"/>
                  </a:cubicBezTo>
                  <a:cubicBezTo>
                    <a:pt x="175" y="91"/>
                    <a:pt x="174" y="74"/>
                    <a:pt x="173" y="66"/>
                  </a:cubicBezTo>
                  <a:cubicBezTo>
                    <a:pt x="169" y="39"/>
                    <a:pt x="157" y="25"/>
                    <a:pt x="137" y="25"/>
                  </a:cubicBezTo>
                  <a:cubicBezTo>
                    <a:pt x="121" y="25"/>
                    <a:pt x="108" y="34"/>
                    <a:pt x="99" y="53"/>
                  </a:cubicBezTo>
                  <a:cubicBezTo>
                    <a:pt x="94" y="62"/>
                    <a:pt x="91" y="71"/>
                    <a:pt x="89" y="81"/>
                  </a:cubicBezTo>
                  <a:cubicBezTo>
                    <a:pt x="87" y="91"/>
                    <a:pt x="86" y="108"/>
                    <a:pt x="86" y="134"/>
                  </a:cubicBezTo>
                  <a:cubicBezTo>
                    <a:pt x="86" y="205"/>
                    <a:pt x="86" y="205"/>
                    <a:pt x="86" y="205"/>
                  </a:cubicBezTo>
                  <a:cubicBezTo>
                    <a:pt x="86" y="227"/>
                    <a:pt x="89" y="240"/>
                    <a:pt x="93" y="245"/>
                  </a:cubicBezTo>
                  <a:cubicBezTo>
                    <a:pt x="97" y="250"/>
                    <a:pt x="105" y="252"/>
                    <a:pt x="116" y="252"/>
                  </a:cubicBezTo>
                  <a:cubicBezTo>
                    <a:pt x="124" y="252"/>
                    <a:pt x="124" y="252"/>
                    <a:pt x="124" y="252"/>
                  </a:cubicBezTo>
                  <a:cubicBezTo>
                    <a:pt x="124" y="270"/>
                    <a:pt x="124" y="270"/>
                    <a:pt x="124" y="270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252"/>
                    <a:pt x="0" y="252"/>
                    <a:pt x="0" y="252"/>
                  </a:cubicBezTo>
                  <a:cubicBezTo>
                    <a:pt x="9" y="252"/>
                    <a:pt x="9" y="252"/>
                    <a:pt x="9" y="252"/>
                  </a:cubicBezTo>
                  <a:cubicBezTo>
                    <a:pt x="19" y="252"/>
                    <a:pt x="27" y="250"/>
                    <a:pt x="31" y="245"/>
                  </a:cubicBezTo>
                  <a:cubicBezTo>
                    <a:pt x="36" y="240"/>
                    <a:pt x="38" y="226"/>
                    <a:pt x="38" y="205"/>
                  </a:cubicBezTo>
                  <a:cubicBezTo>
                    <a:pt x="38" y="69"/>
                    <a:pt x="38" y="69"/>
                    <a:pt x="38" y="69"/>
                  </a:cubicBezTo>
                  <a:cubicBezTo>
                    <a:pt x="38" y="49"/>
                    <a:pt x="36" y="36"/>
                    <a:pt x="31" y="30"/>
                  </a:cubicBezTo>
                  <a:cubicBezTo>
                    <a:pt x="27" y="26"/>
                    <a:pt x="19" y="24"/>
                    <a:pt x="9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83" y="2"/>
                    <a:pt x="83" y="2"/>
                    <a:pt x="83" y="2"/>
                  </a:cubicBezTo>
                  <a:cubicBezTo>
                    <a:pt x="83" y="49"/>
                    <a:pt x="83" y="49"/>
                    <a:pt x="83" y="49"/>
                  </a:cubicBezTo>
                  <a:cubicBezTo>
                    <a:pt x="87" y="39"/>
                    <a:pt x="92" y="31"/>
                    <a:pt x="99" y="23"/>
                  </a:cubicBezTo>
                  <a:cubicBezTo>
                    <a:pt x="113" y="8"/>
                    <a:pt x="130" y="0"/>
                    <a:pt x="150" y="0"/>
                  </a:cubicBezTo>
                  <a:cubicBezTo>
                    <a:pt x="181" y="0"/>
                    <a:pt x="203" y="18"/>
                    <a:pt x="217" y="52"/>
                  </a:cubicBezTo>
                  <a:cubicBezTo>
                    <a:pt x="234" y="18"/>
                    <a:pt x="257" y="0"/>
                    <a:pt x="288" y="0"/>
                  </a:cubicBezTo>
                  <a:cubicBezTo>
                    <a:pt x="314" y="0"/>
                    <a:pt x="333" y="10"/>
                    <a:pt x="346" y="30"/>
                  </a:cubicBezTo>
                  <a:cubicBezTo>
                    <a:pt x="353" y="41"/>
                    <a:pt x="357" y="53"/>
                    <a:pt x="358" y="66"/>
                  </a:cubicBezTo>
                  <a:cubicBezTo>
                    <a:pt x="359" y="77"/>
                    <a:pt x="360" y="89"/>
                    <a:pt x="360" y="102"/>
                  </a:cubicBezTo>
                  <a:cubicBezTo>
                    <a:pt x="360" y="205"/>
                    <a:pt x="360" y="205"/>
                    <a:pt x="360" y="205"/>
                  </a:cubicBezTo>
                  <a:cubicBezTo>
                    <a:pt x="360" y="226"/>
                    <a:pt x="362" y="240"/>
                    <a:pt x="367" y="245"/>
                  </a:cubicBezTo>
                  <a:cubicBezTo>
                    <a:pt x="371" y="250"/>
                    <a:pt x="378" y="252"/>
                    <a:pt x="389" y="252"/>
                  </a:cubicBezTo>
                  <a:cubicBezTo>
                    <a:pt x="396" y="252"/>
                    <a:pt x="396" y="252"/>
                    <a:pt x="396" y="252"/>
                  </a:cubicBezTo>
                  <a:cubicBezTo>
                    <a:pt x="396" y="270"/>
                    <a:pt x="396" y="270"/>
                    <a:pt x="396" y="270"/>
                  </a:cubicBezTo>
                  <a:lnTo>
                    <a:pt x="312" y="2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" name="Freeform 16"/>
            <p:cNvSpPr>
              <a:spLocks/>
            </p:cNvSpPr>
            <p:nvPr userDrawn="1"/>
          </p:nvSpPr>
          <p:spPr bwMode="auto">
            <a:xfrm>
              <a:off x="3681413" y="6834188"/>
              <a:ext cx="252413" cy="376237"/>
            </a:xfrm>
            <a:custGeom>
              <a:avLst/>
              <a:gdLst>
                <a:gd name="T0" fmla="*/ 168 w 184"/>
                <a:gd name="T1" fmla="*/ 6 h 275"/>
                <a:gd name="T2" fmla="*/ 168 w 184"/>
                <a:gd name="T3" fmla="*/ 89 h 275"/>
                <a:gd name="T4" fmla="*/ 151 w 184"/>
                <a:gd name="T5" fmla="*/ 89 h 275"/>
                <a:gd name="T6" fmla="*/ 84 w 184"/>
                <a:gd name="T7" fmla="*/ 17 h 275"/>
                <a:gd name="T8" fmla="*/ 53 w 184"/>
                <a:gd name="T9" fmla="*/ 28 h 275"/>
                <a:gd name="T10" fmla="*/ 41 w 184"/>
                <a:gd name="T11" fmla="*/ 57 h 275"/>
                <a:gd name="T12" fmla="*/ 58 w 184"/>
                <a:gd name="T13" fmla="*/ 88 h 275"/>
                <a:gd name="T14" fmla="*/ 88 w 184"/>
                <a:gd name="T15" fmla="*/ 101 h 275"/>
                <a:gd name="T16" fmla="*/ 152 w 184"/>
                <a:gd name="T17" fmla="*/ 128 h 275"/>
                <a:gd name="T18" fmla="*/ 184 w 184"/>
                <a:gd name="T19" fmla="*/ 191 h 275"/>
                <a:gd name="T20" fmla="*/ 156 w 184"/>
                <a:gd name="T21" fmla="*/ 255 h 275"/>
                <a:gd name="T22" fmla="*/ 98 w 184"/>
                <a:gd name="T23" fmla="*/ 275 h 275"/>
                <a:gd name="T24" fmla="*/ 59 w 184"/>
                <a:gd name="T25" fmla="*/ 268 h 275"/>
                <a:gd name="T26" fmla="*/ 33 w 184"/>
                <a:gd name="T27" fmla="*/ 254 h 275"/>
                <a:gd name="T28" fmla="*/ 26 w 184"/>
                <a:gd name="T29" fmla="*/ 252 h 275"/>
                <a:gd name="T30" fmla="*/ 16 w 184"/>
                <a:gd name="T31" fmla="*/ 270 h 275"/>
                <a:gd name="T32" fmla="*/ 0 w 184"/>
                <a:gd name="T33" fmla="*/ 270 h 275"/>
                <a:gd name="T34" fmla="*/ 0 w 184"/>
                <a:gd name="T35" fmla="*/ 172 h 275"/>
                <a:gd name="T36" fmla="*/ 16 w 184"/>
                <a:gd name="T37" fmla="*/ 172 h 275"/>
                <a:gd name="T38" fmla="*/ 37 w 184"/>
                <a:gd name="T39" fmla="*/ 224 h 275"/>
                <a:gd name="T40" fmla="*/ 63 w 184"/>
                <a:gd name="T41" fmla="*/ 248 h 275"/>
                <a:gd name="T42" fmla="*/ 97 w 184"/>
                <a:gd name="T43" fmla="*/ 257 h 275"/>
                <a:gd name="T44" fmla="*/ 131 w 184"/>
                <a:gd name="T45" fmla="*/ 242 h 275"/>
                <a:gd name="T46" fmla="*/ 144 w 184"/>
                <a:gd name="T47" fmla="*/ 210 h 275"/>
                <a:gd name="T48" fmla="*/ 120 w 184"/>
                <a:gd name="T49" fmla="*/ 170 h 275"/>
                <a:gd name="T50" fmla="*/ 69 w 184"/>
                <a:gd name="T51" fmla="*/ 149 h 275"/>
                <a:gd name="T52" fmla="*/ 28 w 184"/>
                <a:gd name="T53" fmla="*/ 128 h 275"/>
                <a:gd name="T54" fmla="*/ 2 w 184"/>
                <a:gd name="T55" fmla="*/ 72 h 275"/>
                <a:gd name="T56" fmla="*/ 26 w 184"/>
                <a:gd name="T57" fmla="*/ 19 h 275"/>
                <a:gd name="T58" fmla="*/ 80 w 184"/>
                <a:gd name="T59" fmla="*/ 0 h 275"/>
                <a:gd name="T60" fmla="*/ 134 w 184"/>
                <a:gd name="T61" fmla="*/ 16 h 275"/>
                <a:gd name="T62" fmla="*/ 142 w 184"/>
                <a:gd name="T63" fmla="*/ 19 h 275"/>
                <a:gd name="T64" fmla="*/ 151 w 184"/>
                <a:gd name="T65" fmla="*/ 6 h 275"/>
                <a:gd name="T66" fmla="*/ 168 w 184"/>
                <a:gd name="T67" fmla="*/ 6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84" h="275">
                  <a:moveTo>
                    <a:pt x="168" y="6"/>
                  </a:moveTo>
                  <a:cubicBezTo>
                    <a:pt x="168" y="89"/>
                    <a:pt x="168" y="89"/>
                    <a:pt x="168" y="89"/>
                  </a:cubicBezTo>
                  <a:cubicBezTo>
                    <a:pt x="151" y="89"/>
                    <a:pt x="151" y="89"/>
                    <a:pt x="151" y="89"/>
                  </a:cubicBezTo>
                  <a:cubicBezTo>
                    <a:pt x="141" y="41"/>
                    <a:pt x="119" y="17"/>
                    <a:pt x="84" y="17"/>
                  </a:cubicBezTo>
                  <a:cubicBezTo>
                    <a:pt x="71" y="17"/>
                    <a:pt x="61" y="21"/>
                    <a:pt x="53" y="28"/>
                  </a:cubicBezTo>
                  <a:cubicBezTo>
                    <a:pt x="45" y="36"/>
                    <a:pt x="41" y="46"/>
                    <a:pt x="41" y="57"/>
                  </a:cubicBezTo>
                  <a:cubicBezTo>
                    <a:pt x="41" y="70"/>
                    <a:pt x="46" y="80"/>
                    <a:pt x="58" y="88"/>
                  </a:cubicBezTo>
                  <a:cubicBezTo>
                    <a:pt x="63" y="92"/>
                    <a:pt x="74" y="96"/>
                    <a:pt x="88" y="101"/>
                  </a:cubicBezTo>
                  <a:cubicBezTo>
                    <a:pt x="120" y="111"/>
                    <a:pt x="142" y="120"/>
                    <a:pt x="152" y="128"/>
                  </a:cubicBezTo>
                  <a:cubicBezTo>
                    <a:pt x="173" y="144"/>
                    <a:pt x="184" y="165"/>
                    <a:pt x="184" y="191"/>
                  </a:cubicBezTo>
                  <a:cubicBezTo>
                    <a:pt x="184" y="217"/>
                    <a:pt x="175" y="238"/>
                    <a:pt x="156" y="255"/>
                  </a:cubicBezTo>
                  <a:cubicBezTo>
                    <a:pt x="141" y="269"/>
                    <a:pt x="121" y="275"/>
                    <a:pt x="98" y="275"/>
                  </a:cubicBezTo>
                  <a:cubicBezTo>
                    <a:pt x="84" y="275"/>
                    <a:pt x="71" y="273"/>
                    <a:pt x="59" y="268"/>
                  </a:cubicBezTo>
                  <a:cubicBezTo>
                    <a:pt x="55" y="266"/>
                    <a:pt x="46" y="262"/>
                    <a:pt x="33" y="254"/>
                  </a:cubicBezTo>
                  <a:cubicBezTo>
                    <a:pt x="31" y="253"/>
                    <a:pt x="28" y="252"/>
                    <a:pt x="26" y="252"/>
                  </a:cubicBezTo>
                  <a:cubicBezTo>
                    <a:pt x="23" y="252"/>
                    <a:pt x="19" y="258"/>
                    <a:pt x="16" y="270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172"/>
                    <a:pt x="0" y="172"/>
                    <a:pt x="0" y="172"/>
                  </a:cubicBezTo>
                  <a:cubicBezTo>
                    <a:pt x="16" y="172"/>
                    <a:pt x="16" y="172"/>
                    <a:pt x="16" y="172"/>
                  </a:cubicBezTo>
                  <a:cubicBezTo>
                    <a:pt x="22" y="196"/>
                    <a:pt x="29" y="214"/>
                    <a:pt x="37" y="224"/>
                  </a:cubicBezTo>
                  <a:cubicBezTo>
                    <a:pt x="44" y="234"/>
                    <a:pt x="52" y="242"/>
                    <a:pt x="63" y="248"/>
                  </a:cubicBezTo>
                  <a:cubicBezTo>
                    <a:pt x="74" y="254"/>
                    <a:pt x="85" y="257"/>
                    <a:pt x="97" y="257"/>
                  </a:cubicBezTo>
                  <a:cubicBezTo>
                    <a:pt x="112" y="257"/>
                    <a:pt x="123" y="252"/>
                    <a:pt x="131" y="242"/>
                  </a:cubicBezTo>
                  <a:cubicBezTo>
                    <a:pt x="139" y="233"/>
                    <a:pt x="144" y="222"/>
                    <a:pt x="144" y="210"/>
                  </a:cubicBezTo>
                  <a:cubicBezTo>
                    <a:pt x="144" y="193"/>
                    <a:pt x="136" y="179"/>
                    <a:pt x="120" y="170"/>
                  </a:cubicBezTo>
                  <a:cubicBezTo>
                    <a:pt x="112" y="164"/>
                    <a:pt x="95" y="158"/>
                    <a:pt x="69" y="149"/>
                  </a:cubicBezTo>
                  <a:cubicBezTo>
                    <a:pt x="52" y="144"/>
                    <a:pt x="39" y="137"/>
                    <a:pt x="28" y="128"/>
                  </a:cubicBezTo>
                  <a:cubicBezTo>
                    <a:pt x="11" y="115"/>
                    <a:pt x="2" y="97"/>
                    <a:pt x="2" y="72"/>
                  </a:cubicBezTo>
                  <a:cubicBezTo>
                    <a:pt x="2" y="50"/>
                    <a:pt x="10" y="32"/>
                    <a:pt x="26" y="19"/>
                  </a:cubicBezTo>
                  <a:cubicBezTo>
                    <a:pt x="40" y="6"/>
                    <a:pt x="58" y="0"/>
                    <a:pt x="80" y="0"/>
                  </a:cubicBezTo>
                  <a:cubicBezTo>
                    <a:pt x="99" y="0"/>
                    <a:pt x="117" y="5"/>
                    <a:pt x="134" y="16"/>
                  </a:cubicBezTo>
                  <a:cubicBezTo>
                    <a:pt x="138" y="18"/>
                    <a:pt x="140" y="19"/>
                    <a:pt x="142" y="19"/>
                  </a:cubicBezTo>
                  <a:cubicBezTo>
                    <a:pt x="146" y="19"/>
                    <a:pt x="149" y="14"/>
                    <a:pt x="151" y="6"/>
                  </a:cubicBezTo>
                  <a:lnTo>
                    <a:pt x="168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" name="Freeform 17"/>
            <p:cNvSpPr>
              <a:spLocks/>
            </p:cNvSpPr>
            <p:nvPr userDrawn="1"/>
          </p:nvSpPr>
          <p:spPr bwMode="auto">
            <a:xfrm>
              <a:off x="4016376" y="6908800"/>
              <a:ext cx="109538" cy="111125"/>
            </a:xfrm>
            <a:custGeom>
              <a:avLst/>
              <a:gdLst>
                <a:gd name="T0" fmla="*/ 0 w 69"/>
                <a:gd name="T1" fmla="*/ 70 h 70"/>
                <a:gd name="T2" fmla="*/ 0 w 69"/>
                <a:gd name="T3" fmla="*/ 0 h 70"/>
                <a:gd name="T4" fmla="*/ 38 w 69"/>
                <a:gd name="T5" fmla="*/ 0 h 70"/>
                <a:gd name="T6" fmla="*/ 69 w 69"/>
                <a:gd name="T7" fmla="*/ 0 h 70"/>
                <a:gd name="T8" fmla="*/ 69 w 69"/>
                <a:gd name="T9" fmla="*/ 70 h 70"/>
                <a:gd name="T10" fmla="*/ 0 w 69"/>
                <a:gd name="T11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9" h="70">
                  <a:moveTo>
                    <a:pt x="0" y="70"/>
                  </a:moveTo>
                  <a:lnTo>
                    <a:pt x="0" y="0"/>
                  </a:lnTo>
                  <a:lnTo>
                    <a:pt x="38" y="0"/>
                  </a:lnTo>
                  <a:lnTo>
                    <a:pt x="69" y="0"/>
                  </a:lnTo>
                  <a:lnTo>
                    <a:pt x="69" y="70"/>
                  </a:lnTo>
                  <a:lnTo>
                    <a:pt x="0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17147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vertical right transparent">
    <p:bg bwMode="ltGray"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Objekt 6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588" y="1588"/>
            <a:ext cx="1587" cy="1587"/>
          </a:xfrm>
          <a:prstGeom prst="rect">
            <a:avLst/>
          </a:prstGeom>
          <a:noFill/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black">
          <a:xfrm>
            <a:off x="5400312" y="360000"/>
            <a:ext cx="4320000" cy="2502654"/>
          </a:xfrm>
        </p:spPr>
        <p:txBody>
          <a:bodyPr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Headline Ultra</a:t>
            </a:r>
            <a:br>
              <a:rPr lang="en-US" dirty="0" smtClean="0"/>
            </a:br>
            <a:r>
              <a:rPr lang="en-US" dirty="0" smtClean="0"/>
              <a:t>(60) 75 90 PT</a:t>
            </a:r>
            <a:endParaRPr lang="en-US" dirty="0"/>
          </a:p>
        </p:txBody>
      </p:sp>
      <p:sp>
        <p:nvSpPr>
          <p:cNvPr id="10" name="Textplatzhalter 2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5400313" y="3781425"/>
            <a:ext cx="4319999" cy="10080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mtClean="0">
                <a:solidFill>
                  <a:schemeClr val="bg1"/>
                </a:solidFill>
              </a:defRPr>
            </a:lvl1pPr>
            <a:lvl2pPr>
              <a:defRPr lang="de-DE" smtClean="0">
                <a:solidFill>
                  <a:schemeClr val="bg1"/>
                </a:solidFill>
              </a:defRPr>
            </a:lvl2pPr>
            <a:lvl3pPr>
              <a:defRPr lang="de-DE" smtClean="0">
                <a:solidFill>
                  <a:schemeClr val="bg1"/>
                </a:solidFill>
              </a:defRPr>
            </a:lvl3pPr>
            <a:lvl4pPr>
              <a:defRPr lang="de-DE" smtClean="0">
                <a:solidFill>
                  <a:schemeClr val="bg1"/>
                </a:solidFill>
              </a:defRPr>
            </a:lvl4pPr>
            <a:lvl5pPr>
              <a:defRPr lang="de-DE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Sub-heading: Tele-</a:t>
            </a:r>
            <a:r>
              <a:rPr lang="en-US" dirty="0" err="1" smtClean="0"/>
              <a:t>GroteskFet</a:t>
            </a:r>
            <a:r>
              <a:rPr lang="en-US" dirty="0" smtClean="0"/>
              <a:t> 18 </a:t>
            </a:r>
            <a:r>
              <a:rPr lang="en-US" dirty="0" err="1" smtClean="0"/>
              <a:t>pt</a:t>
            </a:r>
            <a:endParaRPr lang="en-US" dirty="0"/>
          </a:p>
        </p:txBody>
      </p:sp>
      <p:grpSp>
        <p:nvGrpSpPr>
          <p:cNvPr id="6" name="Gruppieren 5"/>
          <p:cNvGrpSpPr/>
          <p:nvPr userDrawn="1"/>
        </p:nvGrpSpPr>
        <p:grpSpPr>
          <a:xfrm>
            <a:off x="5400675" y="6659563"/>
            <a:ext cx="3763963" cy="684212"/>
            <a:chOff x="5400675" y="6659563"/>
            <a:chExt cx="3763963" cy="684212"/>
          </a:xfrm>
          <a:solidFill>
            <a:schemeClr val="bg1"/>
          </a:solidFill>
        </p:grpSpPr>
        <p:sp>
          <p:nvSpPr>
            <p:cNvPr id="8" name="Freeform 5"/>
            <p:cNvSpPr>
              <a:spLocks/>
            </p:cNvSpPr>
            <p:nvPr userDrawn="1"/>
          </p:nvSpPr>
          <p:spPr bwMode="auto">
            <a:xfrm>
              <a:off x="5400675" y="6908800"/>
              <a:ext cx="109538" cy="111125"/>
            </a:xfrm>
            <a:custGeom>
              <a:avLst/>
              <a:gdLst>
                <a:gd name="T0" fmla="*/ 0 w 69"/>
                <a:gd name="T1" fmla="*/ 70 h 70"/>
                <a:gd name="T2" fmla="*/ 0 w 69"/>
                <a:gd name="T3" fmla="*/ 0 h 70"/>
                <a:gd name="T4" fmla="*/ 34 w 69"/>
                <a:gd name="T5" fmla="*/ 0 h 70"/>
                <a:gd name="T6" fmla="*/ 69 w 69"/>
                <a:gd name="T7" fmla="*/ 0 h 70"/>
                <a:gd name="T8" fmla="*/ 69 w 69"/>
                <a:gd name="T9" fmla="*/ 70 h 70"/>
                <a:gd name="T10" fmla="*/ 0 w 69"/>
                <a:gd name="T11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9" h="70">
                  <a:moveTo>
                    <a:pt x="0" y="70"/>
                  </a:moveTo>
                  <a:lnTo>
                    <a:pt x="0" y="0"/>
                  </a:lnTo>
                  <a:lnTo>
                    <a:pt x="34" y="0"/>
                  </a:lnTo>
                  <a:lnTo>
                    <a:pt x="69" y="0"/>
                  </a:lnTo>
                  <a:lnTo>
                    <a:pt x="69" y="70"/>
                  </a:lnTo>
                  <a:lnTo>
                    <a:pt x="0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" name="Freeform 6"/>
            <p:cNvSpPr>
              <a:spLocks/>
            </p:cNvSpPr>
            <p:nvPr userDrawn="1"/>
          </p:nvSpPr>
          <p:spPr bwMode="auto">
            <a:xfrm>
              <a:off x="5735638" y="6908800"/>
              <a:ext cx="109538" cy="111125"/>
            </a:xfrm>
            <a:custGeom>
              <a:avLst/>
              <a:gdLst>
                <a:gd name="T0" fmla="*/ 0 w 69"/>
                <a:gd name="T1" fmla="*/ 70 h 70"/>
                <a:gd name="T2" fmla="*/ 0 w 69"/>
                <a:gd name="T3" fmla="*/ 0 h 70"/>
                <a:gd name="T4" fmla="*/ 38 w 69"/>
                <a:gd name="T5" fmla="*/ 0 h 70"/>
                <a:gd name="T6" fmla="*/ 69 w 69"/>
                <a:gd name="T7" fmla="*/ 0 h 70"/>
                <a:gd name="T8" fmla="*/ 69 w 69"/>
                <a:gd name="T9" fmla="*/ 70 h 70"/>
                <a:gd name="T10" fmla="*/ 0 w 69"/>
                <a:gd name="T11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9" h="70">
                  <a:moveTo>
                    <a:pt x="0" y="70"/>
                  </a:moveTo>
                  <a:lnTo>
                    <a:pt x="0" y="0"/>
                  </a:lnTo>
                  <a:lnTo>
                    <a:pt x="38" y="0"/>
                  </a:lnTo>
                  <a:lnTo>
                    <a:pt x="69" y="0"/>
                  </a:lnTo>
                  <a:lnTo>
                    <a:pt x="69" y="70"/>
                  </a:lnTo>
                  <a:lnTo>
                    <a:pt x="0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" name="Freeform 7"/>
            <p:cNvSpPr>
              <a:spLocks/>
            </p:cNvSpPr>
            <p:nvPr userDrawn="1"/>
          </p:nvSpPr>
          <p:spPr bwMode="auto">
            <a:xfrm>
              <a:off x="6064250" y="6908800"/>
              <a:ext cx="111125" cy="111125"/>
            </a:xfrm>
            <a:custGeom>
              <a:avLst/>
              <a:gdLst>
                <a:gd name="T0" fmla="*/ 0 w 70"/>
                <a:gd name="T1" fmla="*/ 70 h 70"/>
                <a:gd name="T2" fmla="*/ 0 w 70"/>
                <a:gd name="T3" fmla="*/ 0 h 70"/>
                <a:gd name="T4" fmla="*/ 35 w 70"/>
                <a:gd name="T5" fmla="*/ 0 h 70"/>
                <a:gd name="T6" fmla="*/ 70 w 70"/>
                <a:gd name="T7" fmla="*/ 0 h 70"/>
                <a:gd name="T8" fmla="*/ 70 w 70"/>
                <a:gd name="T9" fmla="*/ 70 h 70"/>
                <a:gd name="T10" fmla="*/ 0 w 70"/>
                <a:gd name="T11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0" h="70">
                  <a:moveTo>
                    <a:pt x="0" y="70"/>
                  </a:moveTo>
                  <a:lnTo>
                    <a:pt x="0" y="0"/>
                  </a:lnTo>
                  <a:lnTo>
                    <a:pt x="35" y="0"/>
                  </a:lnTo>
                  <a:lnTo>
                    <a:pt x="70" y="0"/>
                  </a:lnTo>
                  <a:lnTo>
                    <a:pt x="70" y="70"/>
                  </a:lnTo>
                  <a:lnTo>
                    <a:pt x="0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" name="Freeform 8"/>
            <p:cNvSpPr>
              <a:spLocks/>
            </p:cNvSpPr>
            <p:nvPr userDrawn="1"/>
          </p:nvSpPr>
          <p:spPr bwMode="auto">
            <a:xfrm>
              <a:off x="6392863" y="6908800"/>
              <a:ext cx="111125" cy="111125"/>
            </a:xfrm>
            <a:custGeom>
              <a:avLst/>
              <a:gdLst>
                <a:gd name="T0" fmla="*/ 0 w 70"/>
                <a:gd name="T1" fmla="*/ 70 h 70"/>
                <a:gd name="T2" fmla="*/ 0 w 70"/>
                <a:gd name="T3" fmla="*/ 0 h 70"/>
                <a:gd name="T4" fmla="*/ 32 w 70"/>
                <a:gd name="T5" fmla="*/ 0 h 70"/>
                <a:gd name="T6" fmla="*/ 70 w 70"/>
                <a:gd name="T7" fmla="*/ 0 h 70"/>
                <a:gd name="T8" fmla="*/ 70 w 70"/>
                <a:gd name="T9" fmla="*/ 70 h 70"/>
                <a:gd name="T10" fmla="*/ 0 w 70"/>
                <a:gd name="T11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0" h="70">
                  <a:moveTo>
                    <a:pt x="0" y="70"/>
                  </a:moveTo>
                  <a:lnTo>
                    <a:pt x="0" y="0"/>
                  </a:lnTo>
                  <a:lnTo>
                    <a:pt x="32" y="0"/>
                  </a:lnTo>
                  <a:lnTo>
                    <a:pt x="70" y="0"/>
                  </a:lnTo>
                  <a:lnTo>
                    <a:pt x="70" y="70"/>
                  </a:lnTo>
                  <a:lnTo>
                    <a:pt x="0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" name="Freeform 9"/>
            <p:cNvSpPr>
              <a:spLocks/>
            </p:cNvSpPr>
            <p:nvPr userDrawn="1"/>
          </p:nvSpPr>
          <p:spPr bwMode="auto">
            <a:xfrm>
              <a:off x="5400675" y="6659563"/>
              <a:ext cx="444500" cy="542925"/>
            </a:xfrm>
            <a:custGeom>
              <a:avLst/>
              <a:gdLst>
                <a:gd name="T0" fmla="*/ 322 w 325"/>
                <a:gd name="T1" fmla="*/ 0 h 397"/>
                <a:gd name="T2" fmla="*/ 4 w 325"/>
                <a:gd name="T3" fmla="*/ 0 h 397"/>
                <a:gd name="T4" fmla="*/ 0 w 325"/>
                <a:gd name="T5" fmla="*/ 140 h 397"/>
                <a:gd name="T6" fmla="*/ 21 w 325"/>
                <a:gd name="T7" fmla="*/ 143 h 397"/>
                <a:gd name="T8" fmla="*/ 54 w 325"/>
                <a:gd name="T9" fmla="*/ 52 h 397"/>
                <a:gd name="T10" fmla="*/ 131 w 325"/>
                <a:gd name="T11" fmla="*/ 19 h 397"/>
                <a:gd name="T12" fmla="*/ 131 w 325"/>
                <a:gd name="T13" fmla="*/ 312 h 397"/>
                <a:gd name="T14" fmla="*/ 120 w 325"/>
                <a:gd name="T15" fmla="*/ 362 h 397"/>
                <a:gd name="T16" fmla="*/ 88 w 325"/>
                <a:gd name="T17" fmla="*/ 374 h 397"/>
                <a:gd name="T18" fmla="*/ 65 w 325"/>
                <a:gd name="T19" fmla="*/ 374 h 397"/>
                <a:gd name="T20" fmla="*/ 65 w 325"/>
                <a:gd name="T21" fmla="*/ 397 h 397"/>
                <a:gd name="T22" fmla="*/ 261 w 325"/>
                <a:gd name="T23" fmla="*/ 397 h 397"/>
                <a:gd name="T24" fmla="*/ 261 w 325"/>
                <a:gd name="T25" fmla="*/ 374 h 397"/>
                <a:gd name="T26" fmla="*/ 238 w 325"/>
                <a:gd name="T27" fmla="*/ 374 h 397"/>
                <a:gd name="T28" fmla="*/ 206 w 325"/>
                <a:gd name="T29" fmla="*/ 362 h 397"/>
                <a:gd name="T30" fmla="*/ 194 w 325"/>
                <a:gd name="T31" fmla="*/ 312 h 397"/>
                <a:gd name="T32" fmla="*/ 194 w 325"/>
                <a:gd name="T33" fmla="*/ 19 h 397"/>
                <a:gd name="T34" fmla="*/ 272 w 325"/>
                <a:gd name="T35" fmla="*/ 52 h 397"/>
                <a:gd name="T36" fmla="*/ 304 w 325"/>
                <a:gd name="T37" fmla="*/ 143 h 397"/>
                <a:gd name="T38" fmla="*/ 325 w 325"/>
                <a:gd name="T39" fmla="*/ 140 h 397"/>
                <a:gd name="T40" fmla="*/ 322 w 325"/>
                <a:gd name="T41" fmla="*/ 0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25" h="397">
                  <a:moveTo>
                    <a:pt x="322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21" y="143"/>
                    <a:pt x="21" y="143"/>
                    <a:pt x="21" y="143"/>
                  </a:cubicBezTo>
                  <a:cubicBezTo>
                    <a:pt x="25" y="102"/>
                    <a:pt x="36" y="72"/>
                    <a:pt x="54" y="52"/>
                  </a:cubicBezTo>
                  <a:cubicBezTo>
                    <a:pt x="72" y="31"/>
                    <a:pt x="98" y="20"/>
                    <a:pt x="131" y="19"/>
                  </a:cubicBezTo>
                  <a:cubicBezTo>
                    <a:pt x="131" y="312"/>
                    <a:pt x="131" y="312"/>
                    <a:pt x="131" y="312"/>
                  </a:cubicBezTo>
                  <a:cubicBezTo>
                    <a:pt x="131" y="337"/>
                    <a:pt x="127" y="354"/>
                    <a:pt x="120" y="362"/>
                  </a:cubicBezTo>
                  <a:cubicBezTo>
                    <a:pt x="114" y="368"/>
                    <a:pt x="103" y="372"/>
                    <a:pt x="88" y="374"/>
                  </a:cubicBezTo>
                  <a:cubicBezTo>
                    <a:pt x="83" y="374"/>
                    <a:pt x="76" y="374"/>
                    <a:pt x="65" y="374"/>
                  </a:cubicBezTo>
                  <a:cubicBezTo>
                    <a:pt x="65" y="397"/>
                    <a:pt x="65" y="397"/>
                    <a:pt x="65" y="397"/>
                  </a:cubicBezTo>
                  <a:cubicBezTo>
                    <a:pt x="261" y="397"/>
                    <a:pt x="261" y="397"/>
                    <a:pt x="261" y="397"/>
                  </a:cubicBezTo>
                  <a:cubicBezTo>
                    <a:pt x="261" y="374"/>
                    <a:pt x="261" y="374"/>
                    <a:pt x="261" y="374"/>
                  </a:cubicBezTo>
                  <a:cubicBezTo>
                    <a:pt x="250" y="374"/>
                    <a:pt x="242" y="374"/>
                    <a:pt x="238" y="374"/>
                  </a:cubicBezTo>
                  <a:cubicBezTo>
                    <a:pt x="223" y="372"/>
                    <a:pt x="212" y="368"/>
                    <a:pt x="206" y="362"/>
                  </a:cubicBezTo>
                  <a:cubicBezTo>
                    <a:pt x="198" y="354"/>
                    <a:pt x="194" y="337"/>
                    <a:pt x="194" y="312"/>
                  </a:cubicBezTo>
                  <a:cubicBezTo>
                    <a:pt x="194" y="19"/>
                    <a:pt x="194" y="19"/>
                    <a:pt x="194" y="19"/>
                  </a:cubicBezTo>
                  <a:cubicBezTo>
                    <a:pt x="228" y="20"/>
                    <a:pt x="253" y="31"/>
                    <a:pt x="272" y="52"/>
                  </a:cubicBezTo>
                  <a:cubicBezTo>
                    <a:pt x="290" y="72"/>
                    <a:pt x="301" y="102"/>
                    <a:pt x="304" y="143"/>
                  </a:cubicBezTo>
                  <a:cubicBezTo>
                    <a:pt x="325" y="140"/>
                    <a:pt x="325" y="140"/>
                    <a:pt x="325" y="140"/>
                  </a:cubicBezTo>
                  <a:lnTo>
                    <a:pt x="32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" name="Freeform 10"/>
            <p:cNvSpPr>
              <a:spLocks/>
            </p:cNvSpPr>
            <p:nvPr userDrawn="1"/>
          </p:nvSpPr>
          <p:spPr bwMode="auto">
            <a:xfrm>
              <a:off x="6599238" y="6667500"/>
              <a:ext cx="327025" cy="547687"/>
            </a:xfrm>
            <a:custGeom>
              <a:avLst/>
              <a:gdLst>
                <a:gd name="T0" fmla="*/ 202 w 239"/>
                <a:gd name="T1" fmla="*/ 134 h 400"/>
                <a:gd name="T2" fmla="*/ 175 w 239"/>
                <a:gd name="T3" fmla="*/ 59 h 400"/>
                <a:gd name="T4" fmla="*/ 108 w 239"/>
                <a:gd name="T5" fmla="*/ 20 h 400"/>
                <a:gd name="T6" fmla="*/ 66 w 239"/>
                <a:gd name="T7" fmla="*/ 35 h 400"/>
                <a:gd name="T8" fmla="*/ 45 w 239"/>
                <a:gd name="T9" fmla="*/ 84 h 400"/>
                <a:gd name="T10" fmla="*/ 68 w 239"/>
                <a:gd name="T11" fmla="*/ 134 h 400"/>
                <a:gd name="T12" fmla="*/ 120 w 239"/>
                <a:gd name="T13" fmla="*/ 159 h 400"/>
                <a:gd name="T14" fmla="*/ 198 w 239"/>
                <a:gd name="T15" fmla="*/ 193 h 400"/>
                <a:gd name="T16" fmla="*/ 239 w 239"/>
                <a:gd name="T17" fmla="*/ 279 h 400"/>
                <a:gd name="T18" fmla="*/ 205 w 239"/>
                <a:gd name="T19" fmla="*/ 367 h 400"/>
                <a:gd name="T20" fmla="*/ 127 w 239"/>
                <a:gd name="T21" fmla="*/ 400 h 400"/>
                <a:gd name="T22" fmla="*/ 82 w 239"/>
                <a:gd name="T23" fmla="*/ 391 h 400"/>
                <a:gd name="T24" fmla="*/ 52 w 239"/>
                <a:gd name="T25" fmla="*/ 374 h 400"/>
                <a:gd name="T26" fmla="*/ 40 w 239"/>
                <a:gd name="T27" fmla="*/ 370 h 400"/>
                <a:gd name="T28" fmla="*/ 26 w 239"/>
                <a:gd name="T29" fmla="*/ 378 h 400"/>
                <a:gd name="T30" fmla="*/ 18 w 239"/>
                <a:gd name="T31" fmla="*/ 391 h 400"/>
                <a:gd name="T32" fmla="*/ 0 w 239"/>
                <a:gd name="T33" fmla="*/ 391 h 400"/>
                <a:gd name="T34" fmla="*/ 0 w 239"/>
                <a:gd name="T35" fmla="*/ 252 h 400"/>
                <a:gd name="T36" fmla="*/ 19 w 239"/>
                <a:gd name="T37" fmla="*/ 252 h 400"/>
                <a:gd name="T38" fmla="*/ 46 w 239"/>
                <a:gd name="T39" fmla="*/ 332 h 400"/>
                <a:gd name="T40" fmla="*/ 124 w 239"/>
                <a:gd name="T41" fmla="*/ 379 h 400"/>
                <a:gd name="T42" fmla="*/ 171 w 239"/>
                <a:gd name="T43" fmla="*/ 363 h 400"/>
                <a:gd name="T44" fmla="*/ 195 w 239"/>
                <a:gd name="T45" fmla="*/ 304 h 400"/>
                <a:gd name="T46" fmla="*/ 158 w 239"/>
                <a:gd name="T47" fmla="*/ 239 h 400"/>
                <a:gd name="T48" fmla="*/ 94 w 239"/>
                <a:gd name="T49" fmla="*/ 214 h 400"/>
                <a:gd name="T50" fmla="*/ 35 w 239"/>
                <a:gd name="T51" fmla="*/ 183 h 400"/>
                <a:gd name="T52" fmla="*/ 3 w 239"/>
                <a:gd name="T53" fmla="*/ 107 h 400"/>
                <a:gd name="T54" fmla="*/ 38 w 239"/>
                <a:gd name="T55" fmla="*/ 25 h 400"/>
                <a:gd name="T56" fmla="*/ 105 w 239"/>
                <a:gd name="T57" fmla="*/ 0 h 400"/>
                <a:gd name="T58" fmla="*/ 148 w 239"/>
                <a:gd name="T59" fmla="*/ 8 h 400"/>
                <a:gd name="T60" fmla="*/ 175 w 239"/>
                <a:gd name="T61" fmla="*/ 23 h 400"/>
                <a:gd name="T62" fmla="*/ 185 w 239"/>
                <a:gd name="T63" fmla="*/ 26 h 400"/>
                <a:gd name="T64" fmla="*/ 203 w 239"/>
                <a:gd name="T65" fmla="*/ 8 h 400"/>
                <a:gd name="T66" fmla="*/ 219 w 239"/>
                <a:gd name="T67" fmla="*/ 8 h 400"/>
                <a:gd name="T68" fmla="*/ 219 w 239"/>
                <a:gd name="T69" fmla="*/ 134 h 400"/>
                <a:gd name="T70" fmla="*/ 202 w 239"/>
                <a:gd name="T71" fmla="*/ 134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39" h="400">
                  <a:moveTo>
                    <a:pt x="202" y="134"/>
                  </a:moveTo>
                  <a:cubicBezTo>
                    <a:pt x="195" y="100"/>
                    <a:pt x="186" y="75"/>
                    <a:pt x="175" y="59"/>
                  </a:cubicBezTo>
                  <a:cubicBezTo>
                    <a:pt x="158" y="33"/>
                    <a:pt x="135" y="20"/>
                    <a:pt x="108" y="20"/>
                  </a:cubicBezTo>
                  <a:cubicBezTo>
                    <a:pt x="91" y="20"/>
                    <a:pt x="77" y="25"/>
                    <a:pt x="66" y="35"/>
                  </a:cubicBezTo>
                  <a:cubicBezTo>
                    <a:pt x="52" y="47"/>
                    <a:pt x="45" y="63"/>
                    <a:pt x="45" y="84"/>
                  </a:cubicBezTo>
                  <a:cubicBezTo>
                    <a:pt x="45" y="105"/>
                    <a:pt x="53" y="122"/>
                    <a:pt x="68" y="134"/>
                  </a:cubicBezTo>
                  <a:cubicBezTo>
                    <a:pt x="77" y="142"/>
                    <a:pt x="94" y="150"/>
                    <a:pt x="120" y="159"/>
                  </a:cubicBezTo>
                  <a:cubicBezTo>
                    <a:pt x="159" y="172"/>
                    <a:pt x="184" y="184"/>
                    <a:pt x="198" y="193"/>
                  </a:cubicBezTo>
                  <a:cubicBezTo>
                    <a:pt x="225" y="214"/>
                    <a:pt x="239" y="243"/>
                    <a:pt x="239" y="279"/>
                  </a:cubicBezTo>
                  <a:cubicBezTo>
                    <a:pt x="239" y="314"/>
                    <a:pt x="228" y="344"/>
                    <a:pt x="205" y="367"/>
                  </a:cubicBezTo>
                  <a:cubicBezTo>
                    <a:pt x="184" y="389"/>
                    <a:pt x="158" y="400"/>
                    <a:pt x="127" y="400"/>
                  </a:cubicBezTo>
                  <a:cubicBezTo>
                    <a:pt x="111" y="400"/>
                    <a:pt x="96" y="397"/>
                    <a:pt x="82" y="391"/>
                  </a:cubicBezTo>
                  <a:cubicBezTo>
                    <a:pt x="76" y="388"/>
                    <a:pt x="66" y="383"/>
                    <a:pt x="52" y="374"/>
                  </a:cubicBezTo>
                  <a:cubicBezTo>
                    <a:pt x="48" y="372"/>
                    <a:pt x="44" y="370"/>
                    <a:pt x="40" y="370"/>
                  </a:cubicBezTo>
                  <a:cubicBezTo>
                    <a:pt x="34" y="370"/>
                    <a:pt x="30" y="373"/>
                    <a:pt x="26" y="378"/>
                  </a:cubicBezTo>
                  <a:cubicBezTo>
                    <a:pt x="24" y="381"/>
                    <a:pt x="21" y="385"/>
                    <a:pt x="18" y="391"/>
                  </a:cubicBezTo>
                  <a:cubicBezTo>
                    <a:pt x="0" y="391"/>
                    <a:pt x="0" y="391"/>
                    <a:pt x="0" y="391"/>
                  </a:cubicBezTo>
                  <a:cubicBezTo>
                    <a:pt x="0" y="252"/>
                    <a:pt x="0" y="252"/>
                    <a:pt x="0" y="252"/>
                  </a:cubicBezTo>
                  <a:cubicBezTo>
                    <a:pt x="19" y="252"/>
                    <a:pt x="19" y="252"/>
                    <a:pt x="19" y="252"/>
                  </a:cubicBezTo>
                  <a:cubicBezTo>
                    <a:pt x="25" y="287"/>
                    <a:pt x="35" y="314"/>
                    <a:pt x="46" y="332"/>
                  </a:cubicBezTo>
                  <a:cubicBezTo>
                    <a:pt x="66" y="364"/>
                    <a:pt x="92" y="379"/>
                    <a:pt x="124" y="379"/>
                  </a:cubicBezTo>
                  <a:cubicBezTo>
                    <a:pt x="143" y="379"/>
                    <a:pt x="159" y="374"/>
                    <a:pt x="171" y="363"/>
                  </a:cubicBezTo>
                  <a:cubicBezTo>
                    <a:pt x="187" y="348"/>
                    <a:pt x="195" y="329"/>
                    <a:pt x="195" y="304"/>
                  </a:cubicBezTo>
                  <a:cubicBezTo>
                    <a:pt x="195" y="275"/>
                    <a:pt x="183" y="253"/>
                    <a:pt x="158" y="239"/>
                  </a:cubicBezTo>
                  <a:cubicBezTo>
                    <a:pt x="150" y="234"/>
                    <a:pt x="129" y="226"/>
                    <a:pt x="94" y="214"/>
                  </a:cubicBezTo>
                  <a:cubicBezTo>
                    <a:pt x="69" y="206"/>
                    <a:pt x="49" y="195"/>
                    <a:pt x="35" y="183"/>
                  </a:cubicBezTo>
                  <a:cubicBezTo>
                    <a:pt x="14" y="164"/>
                    <a:pt x="3" y="139"/>
                    <a:pt x="3" y="107"/>
                  </a:cubicBezTo>
                  <a:cubicBezTo>
                    <a:pt x="3" y="72"/>
                    <a:pt x="15" y="45"/>
                    <a:pt x="38" y="25"/>
                  </a:cubicBezTo>
                  <a:cubicBezTo>
                    <a:pt x="56" y="8"/>
                    <a:pt x="79" y="0"/>
                    <a:pt x="105" y="0"/>
                  </a:cubicBezTo>
                  <a:cubicBezTo>
                    <a:pt x="119" y="0"/>
                    <a:pt x="134" y="2"/>
                    <a:pt x="148" y="8"/>
                  </a:cubicBezTo>
                  <a:cubicBezTo>
                    <a:pt x="153" y="10"/>
                    <a:pt x="162" y="15"/>
                    <a:pt x="175" y="23"/>
                  </a:cubicBezTo>
                  <a:cubicBezTo>
                    <a:pt x="179" y="25"/>
                    <a:pt x="182" y="26"/>
                    <a:pt x="185" y="26"/>
                  </a:cubicBezTo>
                  <a:cubicBezTo>
                    <a:pt x="191" y="26"/>
                    <a:pt x="197" y="20"/>
                    <a:pt x="203" y="8"/>
                  </a:cubicBezTo>
                  <a:cubicBezTo>
                    <a:pt x="219" y="8"/>
                    <a:pt x="219" y="8"/>
                    <a:pt x="219" y="8"/>
                  </a:cubicBezTo>
                  <a:cubicBezTo>
                    <a:pt x="219" y="134"/>
                    <a:pt x="219" y="134"/>
                    <a:pt x="219" y="134"/>
                  </a:cubicBezTo>
                  <a:lnTo>
                    <a:pt x="202" y="1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auto">
            <a:xfrm>
              <a:off x="6946900" y="6842125"/>
              <a:ext cx="352425" cy="501650"/>
            </a:xfrm>
            <a:custGeom>
              <a:avLst/>
              <a:gdLst>
                <a:gd name="T0" fmla="*/ 0 w 258"/>
                <a:gd name="T1" fmla="*/ 0 h 367"/>
                <a:gd name="T2" fmla="*/ 119 w 258"/>
                <a:gd name="T3" fmla="*/ 0 h 367"/>
                <a:gd name="T4" fmla="*/ 119 w 258"/>
                <a:gd name="T5" fmla="*/ 18 h 367"/>
                <a:gd name="T6" fmla="*/ 109 w 258"/>
                <a:gd name="T7" fmla="*/ 18 h 367"/>
                <a:gd name="T8" fmla="*/ 86 w 258"/>
                <a:gd name="T9" fmla="*/ 30 h 367"/>
                <a:gd name="T10" fmla="*/ 90 w 258"/>
                <a:gd name="T11" fmla="*/ 46 h 367"/>
                <a:gd name="T12" fmla="*/ 147 w 258"/>
                <a:gd name="T13" fmla="*/ 196 h 367"/>
                <a:gd name="T14" fmla="*/ 197 w 258"/>
                <a:gd name="T15" fmla="*/ 57 h 367"/>
                <a:gd name="T16" fmla="*/ 202 w 258"/>
                <a:gd name="T17" fmla="*/ 34 h 367"/>
                <a:gd name="T18" fmla="*/ 177 w 258"/>
                <a:gd name="T19" fmla="*/ 18 h 367"/>
                <a:gd name="T20" fmla="*/ 164 w 258"/>
                <a:gd name="T21" fmla="*/ 18 h 367"/>
                <a:gd name="T22" fmla="*/ 164 w 258"/>
                <a:gd name="T23" fmla="*/ 0 h 367"/>
                <a:gd name="T24" fmla="*/ 258 w 258"/>
                <a:gd name="T25" fmla="*/ 0 h 367"/>
                <a:gd name="T26" fmla="*/ 258 w 258"/>
                <a:gd name="T27" fmla="*/ 18 h 367"/>
                <a:gd name="T28" fmla="*/ 252 w 258"/>
                <a:gd name="T29" fmla="*/ 18 h 367"/>
                <a:gd name="T30" fmla="*/ 235 w 258"/>
                <a:gd name="T31" fmla="*/ 26 h 367"/>
                <a:gd name="T32" fmla="*/ 226 w 258"/>
                <a:gd name="T33" fmla="*/ 44 h 367"/>
                <a:gd name="T34" fmla="*/ 131 w 258"/>
                <a:gd name="T35" fmla="*/ 299 h 367"/>
                <a:gd name="T36" fmla="*/ 101 w 258"/>
                <a:gd name="T37" fmla="*/ 351 h 367"/>
                <a:gd name="T38" fmla="*/ 60 w 258"/>
                <a:gd name="T39" fmla="*/ 367 h 367"/>
                <a:gd name="T40" fmla="*/ 25 w 258"/>
                <a:gd name="T41" fmla="*/ 355 h 367"/>
                <a:gd name="T42" fmla="*/ 7 w 258"/>
                <a:gd name="T43" fmla="*/ 318 h 367"/>
                <a:gd name="T44" fmla="*/ 15 w 258"/>
                <a:gd name="T45" fmla="*/ 295 h 367"/>
                <a:gd name="T46" fmla="*/ 38 w 258"/>
                <a:gd name="T47" fmla="*/ 285 h 367"/>
                <a:gd name="T48" fmla="*/ 62 w 258"/>
                <a:gd name="T49" fmla="*/ 296 h 367"/>
                <a:gd name="T50" fmla="*/ 67 w 258"/>
                <a:gd name="T51" fmla="*/ 313 h 367"/>
                <a:gd name="T52" fmla="*/ 58 w 258"/>
                <a:gd name="T53" fmla="*/ 334 h 367"/>
                <a:gd name="T54" fmla="*/ 43 w 258"/>
                <a:gd name="T55" fmla="*/ 341 h 367"/>
                <a:gd name="T56" fmla="*/ 61 w 258"/>
                <a:gd name="T57" fmla="*/ 348 h 367"/>
                <a:gd name="T58" fmla="*/ 90 w 258"/>
                <a:gd name="T59" fmla="*/ 335 h 367"/>
                <a:gd name="T60" fmla="*/ 115 w 258"/>
                <a:gd name="T61" fmla="*/ 284 h 367"/>
                <a:gd name="T62" fmla="*/ 121 w 258"/>
                <a:gd name="T63" fmla="*/ 266 h 367"/>
                <a:gd name="T64" fmla="*/ 42 w 258"/>
                <a:gd name="T65" fmla="*/ 55 h 367"/>
                <a:gd name="T66" fmla="*/ 27 w 258"/>
                <a:gd name="T67" fmla="*/ 24 h 367"/>
                <a:gd name="T68" fmla="*/ 4 w 258"/>
                <a:gd name="T69" fmla="*/ 18 h 367"/>
                <a:gd name="T70" fmla="*/ 0 w 258"/>
                <a:gd name="T71" fmla="*/ 18 h 367"/>
                <a:gd name="T72" fmla="*/ 0 w 258"/>
                <a:gd name="T73" fmla="*/ 0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58" h="367">
                  <a:moveTo>
                    <a:pt x="0" y="0"/>
                  </a:moveTo>
                  <a:cubicBezTo>
                    <a:pt x="119" y="0"/>
                    <a:pt x="119" y="0"/>
                    <a:pt x="119" y="0"/>
                  </a:cubicBezTo>
                  <a:cubicBezTo>
                    <a:pt x="119" y="18"/>
                    <a:pt x="119" y="18"/>
                    <a:pt x="119" y="18"/>
                  </a:cubicBezTo>
                  <a:cubicBezTo>
                    <a:pt x="109" y="18"/>
                    <a:pt x="109" y="18"/>
                    <a:pt x="109" y="18"/>
                  </a:cubicBezTo>
                  <a:cubicBezTo>
                    <a:pt x="93" y="18"/>
                    <a:pt x="86" y="22"/>
                    <a:pt x="86" y="30"/>
                  </a:cubicBezTo>
                  <a:cubicBezTo>
                    <a:pt x="86" y="34"/>
                    <a:pt x="87" y="39"/>
                    <a:pt x="90" y="46"/>
                  </a:cubicBezTo>
                  <a:cubicBezTo>
                    <a:pt x="147" y="196"/>
                    <a:pt x="147" y="196"/>
                    <a:pt x="147" y="196"/>
                  </a:cubicBezTo>
                  <a:cubicBezTo>
                    <a:pt x="197" y="57"/>
                    <a:pt x="197" y="57"/>
                    <a:pt x="197" y="57"/>
                  </a:cubicBezTo>
                  <a:cubicBezTo>
                    <a:pt x="200" y="47"/>
                    <a:pt x="202" y="39"/>
                    <a:pt x="202" y="34"/>
                  </a:cubicBezTo>
                  <a:cubicBezTo>
                    <a:pt x="202" y="23"/>
                    <a:pt x="194" y="18"/>
                    <a:pt x="177" y="18"/>
                  </a:cubicBezTo>
                  <a:cubicBezTo>
                    <a:pt x="164" y="18"/>
                    <a:pt x="164" y="18"/>
                    <a:pt x="164" y="18"/>
                  </a:cubicBezTo>
                  <a:cubicBezTo>
                    <a:pt x="164" y="0"/>
                    <a:pt x="164" y="0"/>
                    <a:pt x="164" y="0"/>
                  </a:cubicBezTo>
                  <a:cubicBezTo>
                    <a:pt x="258" y="0"/>
                    <a:pt x="258" y="0"/>
                    <a:pt x="258" y="0"/>
                  </a:cubicBezTo>
                  <a:cubicBezTo>
                    <a:pt x="258" y="18"/>
                    <a:pt x="258" y="18"/>
                    <a:pt x="258" y="18"/>
                  </a:cubicBezTo>
                  <a:cubicBezTo>
                    <a:pt x="252" y="18"/>
                    <a:pt x="252" y="18"/>
                    <a:pt x="252" y="18"/>
                  </a:cubicBezTo>
                  <a:cubicBezTo>
                    <a:pt x="245" y="18"/>
                    <a:pt x="240" y="20"/>
                    <a:pt x="235" y="26"/>
                  </a:cubicBezTo>
                  <a:cubicBezTo>
                    <a:pt x="232" y="29"/>
                    <a:pt x="229" y="36"/>
                    <a:pt x="226" y="44"/>
                  </a:cubicBezTo>
                  <a:cubicBezTo>
                    <a:pt x="131" y="299"/>
                    <a:pt x="131" y="299"/>
                    <a:pt x="131" y="299"/>
                  </a:cubicBezTo>
                  <a:cubicBezTo>
                    <a:pt x="122" y="323"/>
                    <a:pt x="112" y="340"/>
                    <a:pt x="101" y="351"/>
                  </a:cubicBezTo>
                  <a:cubicBezTo>
                    <a:pt x="90" y="362"/>
                    <a:pt x="76" y="367"/>
                    <a:pt x="60" y="367"/>
                  </a:cubicBezTo>
                  <a:cubicBezTo>
                    <a:pt x="46" y="367"/>
                    <a:pt x="34" y="363"/>
                    <a:pt x="25" y="355"/>
                  </a:cubicBezTo>
                  <a:cubicBezTo>
                    <a:pt x="13" y="345"/>
                    <a:pt x="7" y="333"/>
                    <a:pt x="7" y="318"/>
                  </a:cubicBezTo>
                  <a:cubicBezTo>
                    <a:pt x="7" y="309"/>
                    <a:pt x="10" y="301"/>
                    <a:pt x="15" y="295"/>
                  </a:cubicBezTo>
                  <a:cubicBezTo>
                    <a:pt x="21" y="288"/>
                    <a:pt x="28" y="285"/>
                    <a:pt x="38" y="285"/>
                  </a:cubicBezTo>
                  <a:cubicBezTo>
                    <a:pt x="49" y="285"/>
                    <a:pt x="57" y="289"/>
                    <a:pt x="62" y="296"/>
                  </a:cubicBezTo>
                  <a:cubicBezTo>
                    <a:pt x="66" y="301"/>
                    <a:pt x="67" y="306"/>
                    <a:pt x="67" y="313"/>
                  </a:cubicBezTo>
                  <a:cubicBezTo>
                    <a:pt x="67" y="321"/>
                    <a:pt x="64" y="328"/>
                    <a:pt x="58" y="334"/>
                  </a:cubicBezTo>
                  <a:cubicBezTo>
                    <a:pt x="54" y="337"/>
                    <a:pt x="49" y="340"/>
                    <a:pt x="43" y="341"/>
                  </a:cubicBezTo>
                  <a:cubicBezTo>
                    <a:pt x="48" y="345"/>
                    <a:pt x="53" y="348"/>
                    <a:pt x="61" y="348"/>
                  </a:cubicBezTo>
                  <a:cubicBezTo>
                    <a:pt x="72" y="348"/>
                    <a:pt x="82" y="343"/>
                    <a:pt x="90" y="335"/>
                  </a:cubicBezTo>
                  <a:cubicBezTo>
                    <a:pt x="97" y="327"/>
                    <a:pt x="106" y="310"/>
                    <a:pt x="115" y="284"/>
                  </a:cubicBezTo>
                  <a:cubicBezTo>
                    <a:pt x="121" y="266"/>
                    <a:pt x="121" y="266"/>
                    <a:pt x="121" y="266"/>
                  </a:cubicBezTo>
                  <a:cubicBezTo>
                    <a:pt x="42" y="55"/>
                    <a:pt x="42" y="55"/>
                    <a:pt x="42" y="55"/>
                  </a:cubicBezTo>
                  <a:cubicBezTo>
                    <a:pt x="36" y="38"/>
                    <a:pt x="31" y="28"/>
                    <a:pt x="27" y="24"/>
                  </a:cubicBezTo>
                  <a:cubicBezTo>
                    <a:pt x="21" y="20"/>
                    <a:pt x="14" y="18"/>
                    <a:pt x="4" y="18"/>
                  </a:cubicBezTo>
                  <a:cubicBezTo>
                    <a:pt x="0" y="18"/>
                    <a:pt x="0" y="18"/>
                    <a:pt x="0" y="18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" name="Freeform 12"/>
            <p:cNvSpPr>
              <a:spLocks/>
            </p:cNvSpPr>
            <p:nvPr userDrawn="1"/>
          </p:nvSpPr>
          <p:spPr bwMode="auto">
            <a:xfrm>
              <a:off x="7305675" y="6834188"/>
              <a:ext cx="250825" cy="376237"/>
            </a:xfrm>
            <a:custGeom>
              <a:avLst/>
              <a:gdLst>
                <a:gd name="T0" fmla="*/ 168 w 184"/>
                <a:gd name="T1" fmla="*/ 6 h 275"/>
                <a:gd name="T2" fmla="*/ 168 w 184"/>
                <a:gd name="T3" fmla="*/ 89 h 275"/>
                <a:gd name="T4" fmla="*/ 151 w 184"/>
                <a:gd name="T5" fmla="*/ 89 h 275"/>
                <a:gd name="T6" fmla="*/ 84 w 184"/>
                <a:gd name="T7" fmla="*/ 17 h 275"/>
                <a:gd name="T8" fmla="*/ 53 w 184"/>
                <a:gd name="T9" fmla="*/ 28 h 275"/>
                <a:gd name="T10" fmla="*/ 41 w 184"/>
                <a:gd name="T11" fmla="*/ 57 h 275"/>
                <a:gd name="T12" fmla="*/ 58 w 184"/>
                <a:gd name="T13" fmla="*/ 88 h 275"/>
                <a:gd name="T14" fmla="*/ 89 w 184"/>
                <a:gd name="T15" fmla="*/ 101 h 275"/>
                <a:gd name="T16" fmla="*/ 152 w 184"/>
                <a:gd name="T17" fmla="*/ 128 h 275"/>
                <a:gd name="T18" fmla="*/ 184 w 184"/>
                <a:gd name="T19" fmla="*/ 191 h 275"/>
                <a:gd name="T20" fmla="*/ 157 w 184"/>
                <a:gd name="T21" fmla="*/ 255 h 275"/>
                <a:gd name="T22" fmla="*/ 98 w 184"/>
                <a:gd name="T23" fmla="*/ 275 h 275"/>
                <a:gd name="T24" fmla="*/ 60 w 184"/>
                <a:gd name="T25" fmla="*/ 268 h 275"/>
                <a:gd name="T26" fmla="*/ 34 w 184"/>
                <a:gd name="T27" fmla="*/ 254 h 275"/>
                <a:gd name="T28" fmla="*/ 26 w 184"/>
                <a:gd name="T29" fmla="*/ 252 h 275"/>
                <a:gd name="T30" fmla="*/ 16 w 184"/>
                <a:gd name="T31" fmla="*/ 270 h 275"/>
                <a:gd name="T32" fmla="*/ 0 w 184"/>
                <a:gd name="T33" fmla="*/ 270 h 275"/>
                <a:gd name="T34" fmla="*/ 0 w 184"/>
                <a:gd name="T35" fmla="*/ 172 h 275"/>
                <a:gd name="T36" fmla="*/ 16 w 184"/>
                <a:gd name="T37" fmla="*/ 172 h 275"/>
                <a:gd name="T38" fmla="*/ 37 w 184"/>
                <a:gd name="T39" fmla="*/ 224 h 275"/>
                <a:gd name="T40" fmla="*/ 63 w 184"/>
                <a:gd name="T41" fmla="*/ 248 h 275"/>
                <a:gd name="T42" fmla="*/ 97 w 184"/>
                <a:gd name="T43" fmla="*/ 257 h 275"/>
                <a:gd name="T44" fmla="*/ 132 w 184"/>
                <a:gd name="T45" fmla="*/ 242 h 275"/>
                <a:gd name="T46" fmla="*/ 144 w 184"/>
                <a:gd name="T47" fmla="*/ 210 h 275"/>
                <a:gd name="T48" fmla="*/ 120 w 184"/>
                <a:gd name="T49" fmla="*/ 170 h 275"/>
                <a:gd name="T50" fmla="*/ 70 w 184"/>
                <a:gd name="T51" fmla="*/ 149 h 275"/>
                <a:gd name="T52" fmla="*/ 28 w 184"/>
                <a:gd name="T53" fmla="*/ 128 h 275"/>
                <a:gd name="T54" fmla="*/ 3 w 184"/>
                <a:gd name="T55" fmla="*/ 72 h 275"/>
                <a:gd name="T56" fmla="*/ 26 w 184"/>
                <a:gd name="T57" fmla="*/ 19 h 275"/>
                <a:gd name="T58" fmla="*/ 80 w 184"/>
                <a:gd name="T59" fmla="*/ 0 h 275"/>
                <a:gd name="T60" fmla="*/ 134 w 184"/>
                <a:gd name="T61" fmla="*/ 16 h 275"/>
                <a:gd name="T62" fmla="*/ 143 w 184"/>
                <a:gd name="T63" fmla="*/ 19 h 275"/>
                <a:gd name="T64" fmla="*/ 151 w 184"/>
                <a:gd name="T65" fmla="*/ 6 h 275"/>
                <a:gd name="T66" fmla="*/ 168 w 184"/>
                <a:gd name="T67" fmla="*/ 6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84" h="275">
                  <a:moveTo>
                    <a:pt x="168" y="6"/>
                  </a:moveTo>
                  <a:cubicBezTo>
                    <a:pt x="168" y="89"/>
                    <a:pt x="168" y="89"/>
                    <a:pt x="168" y="89"/>
                  </a:cubicBezTo>
                  <a:cubicBezTo>
                    <a:pt x="151" y="89"/>
                    <a:pt x="151" y="89"/>
                    <a:pt x="151" y="89"/>
                  </a:cubicBezTo>
                  <a:cubicBezTo>
                    <a:pt x="142" y="41"/>
                    <a:pt x="119" y="17"/>
                    <a:pt x="84" y="17"/>
                  </a:cubicBezTo>
                  <a:cubicBezTo>
                    <a:pt x="71" y="17"/>
                    <a:pt x="61" y="21"/>
                    <a:pt x="53" y="28"/>
                  </a:cubicBezTo>
                  <a:cubicBezTo>
                    <a:pt x="45" y="36"/>
                    <a:pt x="41" y="46"/>
                    <a:pt x="41" y="57"/>
                  </a:cubicBezTo>
                  <a:cubicBezTo>
                    <a:pt x="41" y="70"/>
                    <a:pt x="47" y="80"/>
                    <a:pt x="58" y="88"/>
                  </a:cubicBezTo>
                  <a:cubicBezTo>
                    <a:pt x="64" y="92"/>
                    <a:pt x="74" y="96"/>
                    <a:pt x="89" y="101"/>
                  </a:cubicBezTo>
                  <a:cubicBezTo>
                    <a:pt x="120" y="111"/>
                    <a:pt x="142" y="120"/>
                    <a:pt x="152" y="128"/>
                  </a:cubicBezTo>
                  <a:cubicBezTo>
                    <a:pt x="173" y="144"/>
                    <a:pt x="184" y="165"/>
                    <a:pt x="184" y="191"/>
                  </a:cubicBezTo>
                  <a:cubicBezTo>
                    <a:pt x="184" y="217"/>
                    <a:pt x="175" y="238"/>
                    <a:pt x="157" y="255"/>
                  </a:cubicBezTo>
                  <a:cubicBezTo>
                    <a:pt x="141" y="269"/>
                    <a:pt x="122" y="275"/>
                    <a:pt x="98" y="275"/>
                  </a:cubicBezTo>
                  <a:cubicBezTo>
                    <a:pt x="84" y="275"/>
                    <a:pt x="71" y="273"/>
                    <a:pt x="60" y="268"/>
                  </a:cubicBezTo>
                  <a:cubicBezTo>
                    <a:pt x="55" y="266"/>
                    <a:pt x="46" y="262"/>
                    <a:pt x="34" y="254"/>
                  </a:cubicBezTo>
                  <a:cubicBezTo>
                    <a:pt x="31" y="253"/>
                    <a:pt x="28" y="252"/>
                    <a:pt x="26" y="252"/>
                  </a:cubicBezTo>
                  <a:cubicBezTo>
                    <a:pt x="23" y="252"/>
                    <a:pt x="19" y="258"/>
                    <a:pt x="16" y="270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172"/>
                    <a:pt x="0" y="172"/>
                    <a:pt x="0" y="172"/>
                  </a:cubicBezTo>
                  <a:cubicBezTo>
                    <a:pt x="16" y="172"/>
                    <a:pt x="16" y="172"/>
                    <a:pt x="16" y="172"/>
                  </a:cubicBezTo>
                  <a:cubicBezTo>
                    <a:pt x="23" y="196"/>
                    <a:pt x="30" y="214"/>
                    <a:pt x="37" y="224"/>
                  </a:cubicBezTo>
                  <a:cubicBezTo>
                    <a:pt x="44" y="234"/>
                    <a:pt x="53" y="242"/>
                    <a:pt x="63" y="248"/>
                  </a:cubicBezTo>
                  <a:cubicBezTo>
                    <a:pt x="74" y="254"/>
                    <a:pt x="85" y="257"/>
                    <a:pt x="97" y="257"/>
                  </a:cubicBezTo>
                  <a:cubicBezTo>
                    <a:pt x="112" y="257"/>
                    <a:pt x="123" y="252"/>
                    <a:pt x="132" y="242"/>
                  </a:cubicBezTo>
                  <a:cubicBezTo>
                    <a:pt x="140" y="233"/>
                    <a:pt x="144" y="222"/>
                    <a:pt x="144" y="210"/>
                  </a:cubicBezTo>
                  <a:cubicBezTo>
                    <a:pt x="144" y="193"/>
                    <a:pt x="136" y="179"/>
                    <a:pt x="120" y="170"/>
                  </a:cubicBezTo>
                  <a:cubicBezTo>
                    <a:pt x="112" y="164"/>
                    <a:pt x="95" y="158"/>
                    <a:pt x="70" y="149"/>
                  </a:cubicBezTo>
                  <a:cubicBezTo>
                    <a:pt x="53" y="144"/>
                    <a:pt x="39" y="137"/>
                    <a:pt x="28" y="128"/>
                  </a:cubicBezTo>
                  <a:cubicBezTo>
                    <a:pt x="11" y="115"/>
                    <a:pt x="3" y="97"/>
                    <a:pt x="3" y="72"/>
                  </a:cubicBezTo>
                  <a:cubicBezTo>
                    <a:pt x="3" y="50"/>
                    <a:pt x="10" y="32"/>
                    <a:pt x="26" y="19"/>
                  </a:cubicBezTo>
                  <a:cubicBezTo>
                    <a:pt x="40" y="6"/>
                    <a:pt x="58" y="0"/>
                    <a:pt x="80" y="0"/>
                  </a:cubicBezTo>
                  <a:cubicBezTo>
                    <a:pt x="99" y="0"/>
                    <a:pt x="117" y="5"/>
                    <a:pt x="134" y="16"/>
                  </a:cubicBezTo>
                  <a:cubicBezTo>
                    <a:pt x="138" y="18"/>
                    <a:pt x="141" y="19"/>
                    <a:pt x="143" y="19"/>
                  </a:cubicBezTo>
                  <a:cubicBezTo>
                    <a:pt x="146" y="19"/>
                    <a:pt x="149" y="14"/>
                    <a:pt x="151" y="6"/>
                  </a:cubicBezTo>
                  <a:lnTo>
                    <a:pt x="168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" name="Freeform 13"/>
            <p:cNvSpPr>
              <a:spLocks/>
            </p:cNvSpPr>
            <p:nvPr userDrawn="1"/>
          </p:nvSpPr>
          <p:spPr bwMode="auto">
            <a:xfrm>
              <a:off x="7566025" y="6704013"/>
              <a:ext cx="239713" cy="506412"/>
            </a:xfrm>
            <a:custGeom>
              <a:avLst/>
              <a:gdLst>
                <a:gd name="T0" fmla="*/ 90 w 176"/>
                <a:gd name="T1" fmla="*/ 119 h 369"/>
                <a:gd name="T2" fmla="*/ 90 w 176"/>
                <a:gd name="T3" fmla="*/ 278 h 369"/>
                <a:gd name="T4" fmla="*/ 94 w 176"/>
                <a:gd name="T5" fmla="*/ 323 h 369"/>
                <a:gd name="T6" fmla="*/ 122 w 176"/>
                <a:gd name="T7" fmla="*/ 345 h 369"/>
                <a:gd name="T8" fmla="*/ 149 w 176"/>
                <a:gd name="T9" fmla="*/ 326 h 369"/>
                <a:gd name="T10" fmla="*/ 157 w 176"/>
                <a:gd name="T11" fmla="*/ 281 h 369"/>
                <a:gd name="T12" fmla="*/ 157 w 176"/>
                <a:gd name="T13" fmla="*/ 273 h 369"/>
                <a:gd name="T14" fmla="*/ 176 w 176"/>
                <a:gd name="T15" fmla="*/ 273 h 369"/>
                <a:gd name="T16" fmla="*/ 176 w 176"/>
                <a:gd name="T17" fmla="*/ 284 h 369"/>
                <a:gd name="T18" fmla="*/ 159 w 176"/>
                <a:gd name="T19" fmla="*/ 347 h 369"/>
                <a:gd name="T20" fmla="*/ 108 w 176"/>
                <a:gd name="T21" fmla="*/ 369 h 369"/>
                <a:gd name="T22" fmla="*/ 58 w 176"/>
                <a:gd name="T23" fmla="*/ 350 h 369"/>
                <a:gd name="T24" fmla="*/ 43 w 176"/>
                <a:gd name="T25" fmla="*/ 315 h 369"/>
                <a:gd name="T26" fmla="*/ 42 w 176"/>
                <a:gd name="T27" fmla="*/ 278 h 369"/>
                <a:gd name="T28" fmla="*/ 42 w 176"/>
                <a:gd name="T29" fmla="*/ 119 h 369"/>
                <a:gd name="T30" fmla="*/ 0 w 176"/>
                <a:gd name="T31" fmla="*/ 119 h 369"/>
                <a:gd name="T32" fmla="*/ 0 w 176"/>
                <a:gd name="T33" fmla="*/ 103 h 369"/>
                <a:gd name="T34" fmla="*/ 54 w 176"/>
                <a:gd name="T35" fmla="*/ 72 h 369"/>
                <a:gd name="T36" fmla="*/ 74 w 176"/>
                <a:gd name="T37" fmla="*/ 0 h 369"/>
                <a:gd name="T38" fmla="*/ 90 w 176"/>
                <a:gd name="T39" fmla="*/ 0 h 369"/>
                <a:gd name="T40" fmla="*/ 90 w 176"/>
                <a:gd name="T41" fmla="*/ 100 h 369"/>
                <a:gd name="T42" fmla="*/ 167 w 176"/>
                <a:gd name="T43" fmla="*/ 100 h 369"/>
                <a:gd name="T44" fmla="*/ 167 w 176"/>
                <a:gd name="T45" fmla="*/ 119 h 369"/>
                <a:gd name="T46" fmla="*/ 90 w 176"/>
                <a:gd name="T47" fmla="*/ 119 h 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6" h="369">
                  <a:moveTo>
                    <a:pt x="90" y="119"/>
                  </a:moveTo>
                  <a:cubicBezTo>
                    <a:pt x="90" y="278"/>
                    <a:pt x="90" y="278"/>
                    <a:pt x="90" y="278"/>
                  </a:cubicBezTo>
                  <a:cubicBezTo>
                    <a:pt x="90" y="299"/>
                    <a:pt x="92" y="314"/>
                    <a:pt x="94" y="323"/>
                  </a:cubicBezTo>
                  <a:cubicBezTo>
                    <a:pt x="99" y="338"/>
                    <a:pt x="108" y="345"/>
                    <a:pt x="122" y="345"/>
                  </a:cubicBezTo>
                  <a:cubicBezTo>
                    <a:pt x="134" y="345"/>
                    <a:pt x="143" y="339"/>
                    <a:pt x="149" y="326"/>
                  </a:cubicBezTo>
                  <a:cubicBezTo>
                    <a:pt x="154" y="314"/>
                    <a:pt x="157" y="299"/>
                    <a:pt x="157" y="281"/>
                  </a:cubicBezTo>
                  <a:cubicBezTo>
                    <a:pt x="157" y="273"/>
                    <a:pt x="157" y="273"/>
                    <a:pt x="157" y="273"/>
                  </a:cubicBezTo>
                  <a:cubicBezTo>
                    <a:pt x="176" y="273"/>
                    <a:pt x="176" y="273"/>
                    <a:pt x="176" y="273"/>
                  </a:cubicBezTo>
                  <a:cubicBezTo>
                    <a:pt x="176" y="284"/>
                    <a:pt x="176" y="284"/>
                    <a:pt x="176" y="284"/>
                  </a:cubicBezTo>
                  <a:cubicBezTo>
                    <a:pt x="176" y="310"/>
                    <a:pt x="170" y="331"/>
                    <a:pt x="159" y="347"/>
                  </a:cubicBezTo>
                  <a:cubicBezTo>
                    <a:pt x="148" y="362"/>
                    <a:pt x="131" y="369"/>
                    <a:pt x="108" y="369"/>
                  </a:cubicBezTo>
                  <a:cubicBezTo>
                    <a:pt x="85" y="369"/>
                    <a:pt x="69" y="363"/>
                    <a:pt x="58" y="350"/>
                  </a:cubicBezTo>
                  <a:cubicBezTo>
                    <a:pt x="50" y="340"/>
                    <a:pt x="45" y="329"/>
                    <a:pt x="43" y="315"/>
                  </a:cubicBezTo>
                  <a:cubicBezTo>
                    <a:pt x="42" y="305"/>
                    <a:pt x="42" y="293"/>
                    <a:pt x="42" y="278"/>
                  </a:cubicBezTo>
                  <a:cubicBezTo>
                    <a:pt x="42" y="119"/>
                    <a:pt x="42" y="119"/>
                    <a:pt x="42" y="119"/>
                  </a:cubicBezTo>
                  <a:cubicBezTo>
                    <a:pt x="0" y="119"/>
                    <a:pt x="0" y="119"/>
                    <a:pt x="0" y="119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27" y="97"/>
                    <a:pt x="45" y="86"/>
                    <a:pt x="54" y="72"/>
                  </a:cubicBezTo>
                  <a:cubicBezTo>
                    <a:pt x="64" y="57"/>
                    <a:pt x="71" y="33"/>
                    <a:pt x="74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0" y="100"/>
                    <a:pt x="90" y="100"/>
                    <a:pt x="90" y="100"/>
                  </a:cubicBezTo>
                  <a:cubicBezTo>
                    <a:pt x="167" y="100"/>
                    <a:pt x="167" y="100"/>
                    <a:pt x="167" y="100"/>
                  </a:cubicBezTo>
                  <a:cubicBezTo>
                    <a:pt x="167" y="119"/>
                    <a:pt x="167" y="119"/>
                    <a:pt x="167" y="119"/>
                  </a:cubicBezTo>
                  <a:lnTo>
                    <a:pt x="90" y="1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" name="Freeform 14"/>
            <p:cNvSpPr>
              <a:spLocks noEditPoints="1"/>
            </p:cNvSpPr>
            <p:nvPr userDrawn="1"/>
          </p:nvSpPr>
          <p:spPr bwMode="auto">
            <a:xfrm>
              <a:off x="7829550" y="6831013"/>
              <a:ext cx="287338" cy="382587"/>
            </a:xfrm>
            <a:custGeom>
              <a:avLst/>
              <a:gdLst>
                <a:gd name="T0" fmla="*/ 210 w 210"/>
                <a:gd name="T1" fmla="*/ 138 h 280"/>
                <a:gd name="T2" fmla="*/ 53 w 210"/>
                <a:gd name="T3" fmla="*/ 138 h 280"/>
                <a:gd name="T4" fmla="*/ 65 w 210"/>
                <a:gd name="T5" fmla="*/ 220 h 280"/>
                <a:gd name="T6" fmla="*/ 119 w 210"/>
                <a:gd name="T7" fmla="*/ 257 h 280"/>
                <a:gd name="T8" fmla="*/ 168 w 210"/>
                <a:gd name="T9" fmla="*/ 234 h 280"/>
                <a:gd name="T10" fmla="*/ 190 w 210"/>
                <a:gd name="T11" fmla="*/ 198 h 280"/>
                <a:gd name="T12" fmla="*/ 207 w 210"/>
                <a:gd name="T13" fmla="*/ 207 h 280"/>
                <a:gd name="T14" fmla="*/ 110 w 210"/>
                <a:gd name="T15" fmla="*/ 280 h 280"/>
                <a:gd name="T16" fmla="*/ 36 w 210"/>
                <a:gd name="T17" fmla="*/ 249 h 280"/>
                <a:gd name="T18" fmla="*/ 0 w 210"/>
                <a:gd name="T19" fmla="*/ 138 h 280"/>
                <a:gd name="T20" fmla="*/ 36 w 210"/>
                <a:gd name="T21" fmla="*/ 31 h 280"/>
                <a:gd name="T22" fmla="*/ 104 w 210"/>
                <a:gd name="T23" fmla="*/ 0 h 280"/>
                <a:gd name="T24" fmla="*/ 193 w 210"/>
                <a:gd name="T25" fmla="*/ 59 h 280"/>
                <a:gd name="T26" fmla="*/ 210 w 210"/>
                <a:gd name="T27" fmla="*/ 138 h 280"/>
                <a:gd name="T28" fmla="*/ 157 w 210"/>
                <a:gd name="T29" fmla="*/ 118 h 280"/>
                <a:gd name="T30" fmla="*/ 150 w 210"/>
                <a:gd name="T31" fmla="*/ 60 h 280"/>
                <a:gd name="T32" fmla="*/ 107 w 210"/>
                <a:gd name="T33" fmla="*/ 20 h 280"/>
                <a:gd name="T34" fmla="*/ 60 w 210"/>
                <a:gd name="T35" fmla="*/ 69 h 280"/>
                <a:gd name="T36" fmla="*/ 54 w 210"/>
                <a:gd name="T37" fmla="*/ 118 h 280"/>
                <a:gd name="T38" fmla="*/ 157 w 210"/>
                <a:gd name="T39" fmla="*/ 118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10" h="280">
                  <a:moveTo>
                    <a:pt x="210" y="138"/>
                  </a:moveTo>
                  <a:cubicBezTo>
                    <a:pt x="53" y="138"/>
                    <a:pt x="53" y="138"/>
                    <a:pt x="53" y="138"/>
                  </a:cubicBezTo>
                  <a:cubicBezTo>
                    <a:pt x="54" y="175"/>
                    <a:pt x="58" y="202"/>
                    <a:pt x="65" y="220"/>
                  </a:cubicBezTo>
                  <a:cubicBezTo>
                    <a:pt x="75" y="245"/>
                    <a:pt x="93" y="257"/>
                    <a:pt x="119" y="257"/>
                  </a:cubicBezTo>
                  <a:cubicBezTo>
                    <a:pt x="139" y="257"/>
                    <a:pt x="155" y="249"/>
                    <a:pt x="168" y="234"/>
                  </a:cubicBezTo>
                  <a:cubicBezTo>
                    <a:pt x="176" y="225"/>
                    <a:pt x="183" y="213"/>
                    <a:pt x="190" y="198"/>
                  </a:cubicBezTo>
                  <a:cubicBezTo>
                    <a:pt x="207" y="207"/>
                    <a:pt x="207" y="207"/>
                    <a:pt x="207" y="207"/>
                  </a:cubicBezTo>
                  <a:cubicBezTo>
                    <a:pt x="183" y="256"/>
                    <a:pt x="151" y="280"/>
                    <a:pt x="110" y="280"/>
                  </a:cubicBezTo>
                  <a:cubicBezTo>
                    <a:pt x="80" y="280"/>
                    <a:pt x="55" y="269"/>
                    <a:pt x="36" y="249"/>
                  </a:cubicBezTo>
                  <a:cubicBezTo>
                    <a:pt x="12" y="223"/>
                    <a:pt x="0" y="186"/>
                    <a:pt x="0" y="138"/>
                  </a:cubicBezTo>
                  <a:cubicBezTo>
                    <a:pt x="0" y="94"/>
                    <a:pt x="12" y="58"/>
                    <a:pt x="36" y="31"/>
                  </a:cubicBezTo>
                  <a:cubicBezTo>
                    <a:pt x="55" y="10"/>
                    <a:pt x="77" y="0"/>
                    <a:pt x="104" y="0"/>
                  </a:cubicBezTo>
                  <a:cubicBezTo>
                    <a:pt x="143" y="0"/>
                    <a:pt x="173" y="19"/>
                    <a:pt x="193" y="59"/>
                  </a:cubicBezTo>
                  <a:cubicBezTo>
                    <a:pt x="203" y="80"/>
                    <a:pt x="209" y="106"/>
                    <a:pt x="210" y="138"/>
                  </a:cubicBezTo>
                  <a:close/>
                  <a:moveTo>
                    <a:pt x="157" y="118"/>
                  </a:moveTo>
                  <a:cubicBezTo>
                    <a:pt x="157" y="94"/>
                    <a:pt x="155" y="75"/>
                    <a:pt x="150" y="60"/>
                  </a:cubicBezTo>
                  <a:cubicBezTo>
                    <a:pt x="141" y="33"/>
                    <a:pt x="126" y="20"/>
                    <a:pt x="107" y="20"/>
                  </a:cubicBezTo>
                  <a:cubicBezTo>
                    <a:pt x="85" y="20"/>
                    <a:pt x="69" y="36"/>
                    <a:pt x="60" y="69"/>
                  </a:cubicBezTo>
                  <a:cubicBezTo>
                    <a:pt x="56" y="82"/>
                    <a:pt x="54" y="99"/>
                    <a:pt x="54" y="118"/>
                  </a:cubicBezTo>
                  <a:lnTo>
                    <a:pt x="157" y="1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" name="Freeform 15"/>
            <p:cNvSpPr>
              <a:spLocks/>
            </p:cNvSpPr>
            <p:nvPr userDrawn="1"/>
          </p:nvSpPr>
          <p:spPr bwMode="auto">
            <a:xfrm>
              <a:off x="8143875" y="6834188"/>
              <a:ext cx="539750" cy="368300"/>
            </a:xfrm>
            <a:custGeom>
              <a:avLst/>
              <a:gdLst>
                <a:gd name="T0" fmla="*/ 312 w 396"/>
                <a:gd name="T1" fmla="*/ 270 h 270"/>
                <a:gd name="T2" fmla="*/ 312 w 396"/>
                <a:gd name="T3" fmla="*/ 108 h 270"/>
                <a:gd name="T4" fmla="*/ 305 w 396"/>
                <a:gd name="T5" fmla="*/ 44 h 270"/>
                <a:gd name="T6" fmla="*/ 275 w 396"/>
                <a:gd name="T7" fmla="*/ 25 h 270"/>
                <a:gd name="T8" fmla="*/ 236 w 396"/>
                <a:gd name="T9" fmla="*/ 52 h 270"/>
                <a:gd name="T10" fmla="*/ 225 w 396"/>
                <a:gd name="T11" fmla="*/ 84 h 270"/>
                <a:gd name="T12" fmla="*/ 223 w 396"/>
                <a:gd name="T13" fmla="*/ 134 h 270"/>
                <a:gd name="T14" fmla="*/ 223 w 396"/>
                <a:gd name="T15" fmla="*/ 205 h 270"/>
                <a:gd name="T16" fmla="*/ 230 w 396"/>
                <a:gd name="T17" fmla="*/ 245 h 270"/>
                <a:gd name="T18" fmla="*/ 252 w 396"/>
                <a:gd name="T19" fmla="*/ 252 h 270"/>
                <a:gd name="T20" fmla="*/ 261 w 396"/>
                <a:gd name="T21" fmla="*/ 252 h 270"/>
                <a:gd name="T22" fmla="*/ 261 w 396"/>
                <a:gd name="T23" fmla="*/ 270 h 270"/>
                <a:gd name="T24" fmla="*/ 175 w 396"/>
                <a:gd name="T25" fmla="*/ 270 h 270"/>
                <a:gd name="T26" fmla="*/ 175 w 396"/>
                <a:gd name="T27" fmla="*/ 117 h 270"/>
                <a:gd name="T28" fmla="*/ 173 w 396"/>
                <a:gd name="T29" fmla="*/ 66 h 270"/>
                <a:gd name="T30" fmla="*/ 137 w 396"/>
                <a:gd name="T31" fmla="*/ 25 h 270"/>
                <a:gd name="T32" fmla="*/ 99 w 396"/>
                <a:gd name="T33" fmla="*/ 53 h 270"/>
                <a:gd name="T34" fmla="*/ 89 w 396"/>
                <a:gd name="T35" fmla="*/ 81 h 270"/>
                <a:gd name="T36" fmla="*/ 86 w 396"/>
                <a:gd name="T37" fmla="*/ 134 h 270"/>
                <a:gd name="T38" fmla="*/ 86 w 396"/>
                <a:gd name="T39" fmla="*/ 205 h 270"/>
                <a:gd name="T40" fmla="*/ 93 w 396"/>
                <a:gd name="T41" fmla="*/ 245 h 270"/>
                <a:gd name="T42" fmla="*/ 116 w 396"/>
                <a:gd name="T43" fmla="*/ 252 h 270"/>
                <a:gd name="T44" fmla="*/ 124 w 396"/>
                <a:gd name="T45" fmla="*/ 252 h 270"/>
                <a:gd name="T46" fmla="*/ 124 w 396"/>
                <a:gd name="T47" fmla="*/ 270 h 270"/>
                <a:gd name="T48" fmla="*/ 0 w 396"/>
                <a:gd name="T49" fmla="*/ 270 h 270"/>
                <a:gd name="T50" fmla="*/ 0 w 396"/>
                <a:gd name="T51" fmla="*/ 252 h 270"/>
                <a:gd name="T52" fmla="*/ 9 w 396"/>
                <a:gd name="T53" fmla="*/ 252 h 270"/>
                <a:gd name="T54" fmla="*/ 31 w 396"/>
                <a:gd name="T55" fmla="*/ 245 h 270"/>
                <a:gd name="T56" fmla="*/ 38 w 396"/>
                <a:gd name="T57" fmla="*/ 205 h 270"/>
                <a:gd name="T58" fmla="*/ 38 w 396"/>
                <a:gd name="T59" fmla="*/ 69 h 270"/>
                <a:gd name="T60" fmla="*/ 31 w 396"/>
                <a:gd name="T61" fmla="*/ 30 h 270"/>
                <a:gd name="T62" fmla="*/ 9 w 396"/>
                <a:gd name="T63" fmla="*/ 24 h 270"/>
                <a:gd name="T64" fmla="*/ 2 w 396"/>
                <a:gd name="T65" fmla="*/ 24 h 270"/>
                <a:gd name="T66" fmla="*/ 2 w 396"/>
                <a:gd name="T67" fmla="*/ 6 h 270"/>
                <a:gd name="T68" fmla="*/ 83 w 396"/>
                <a:gd name="T69" fmla="*/ 2 h 270"/>
                <a:gd name="T70" fmla="*/ 83 w 396"/>
                <a:gd name="T71" fmla="*/ 49 h 270"/>
                <a:gd name="T72" fmla="*/ 99 w 396"/>
                <a:gd name="T73" fmla="*/ 23 h 270"/>
                <a:gd name="T74" fmla="*/ 150 w 396"/>
                <a:gd name="T75" fmla="*/ 0 h 270"/>
                <a:gd name="T76" fmla="*/ 217 w 396"/>
                <a:gd name="T77" fmla="*/ 52 h 270"/>
                <a:gd name="T78" fmla="*/ 288 w 396"/>
                <a:gd name="T79" fmla="*/ 0 h 270"/>
                <a:gd name="T80" fmla="*/ 346 w 396"/>
                <a:gd name="T81" fmla="*/ 30 h 270"/>
                <a:gd name="T82" fmla="*/ 358 w 396"/>
                <a:gd name="T83" fmla="*/ 66 h 270"/>
                <a:gd name="T84" fmla="*/ 360 w 396"/>
                <a:gd name="T85" fmla="*/ 102 h 270"/>
                <a:gd name="T86" fmla="*/ 360 w 396"/>
                <a:gd name="T87" fmla="*/ 205 h 270"/>
                <a:gd name="T88" fmla="*/ 367 w 396"/>
                <a:gd name="T89" fmla="*/ 245 h 270"/>
                <a:gd name="T90" fmla="*/ 389 w 396"/>
                <a:gd name="T91" fmla="*/ 252 h 270"/>
                <a:gd name="T92" fmla="*/ 396 w 396"/>
                <a:gd name="T93" fmla="*/ 252 h 270"/>
                <a:gd name="T94" fmla="*/ 396 w 396"/>
                <a:gd name="T95" fmla="*/ 270 h 270"/>
                <a:gd name="T96" fmla="*/ 312 w 396"/>
                <a:gd name="T97" fmla="*/ 27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96" h="270">
                  <a:moveTo>
                    <a:pt x="312" y="270"/>
                  </a:moveTo>
                  <a:cubicBezTo>
                    <a:pt x="312" y="108"/>
                    <a:pt x="312" y="108"/>
                    <a:pt x="312" y="108"/>
                  </a:cubicBezTo>
                  <a:cubicBezTo>
                    <a:pt x="312" y="75"/>
                    <a:pt x="309" y="54"/>
                    <a:pt x="305" y="44"/>
                  </a:cubicBezTo>
                  <a:cubicBezTo>
                    <a:pt x="298" y="31"/>
                    <a:pt x="288" y="25"/>
                    <a:pt x="275" y="25"/>
                  </a:cubicBezTo>
                  <a:cubicBezTo>
                    <a:pt x="259" y="25"/>
                    <a:pt x="246" y="34"/>
                    <a:pt x="236" y="52"/>
                  </a:cubicBezTo>
                  <a:cubicBezTo>
                    <a:pt x="231" y="62"/>
                    <a:pt x="227" y="73"/>
                    <a:pt x="225" y="84"/>
                  </a:cubicBezTo>
                  <a:cubicBezTo>
                    <a:pt x="224" y="93"/>
                    <a:pt x="223" y="109"/>
                    <a:pt x="223" y="134"/>
                  </a:cubicBezTo>
                  <a:cubicBezTo>
                    <a:pt x="223" y="205"/>
                    <a:pt x="223" y="205"/>
                    <a:pt x="223" y="205"/>
                  </a:cubicBezTo>
                  <a:cubicBezTo>
                    <a:pt x="223" y="226"/>
                    <a:pt x="226" y="240"/>
                    <a:pt x="230" y="245"/>
                  </a:cubicBezTo>
                  <a:cubicBezTo>
                    <a:pt x="234" y="250"/>
                    <a:pt x="242" y="252"/>
                    <a:pt x="252" y="252"/>
                  </a:cubicBezTo>
                  <a:cubicBezTo>
                    <a:pt x="261" y="252"/>
                    <a:pt x="261" y="252"/>
                    <a:pt x="261" y="252"/>
                  </a:cubicBezTo>
                  <a:cubicBezTo>
                    <a:pt x="261" y="270"/>
                    <a:pt x="261" y="270"/>
                    <a:pt x="261" y="270"/>
                  </a:cubicBezTo>
                  <a:cubicBezTo>
                    <a:pt x="175" y="270"/>
                    <a:pt x="175" y="270"/>
                    <a:pt x="175" y="270"/>
                  </a:cubicBezTo>
                  <a:cubicBezTo>
                    <a:pt x="175" y="117"/>
                    <a:pt x="175" y="117"/>
                    <a:pt x="175" y="117"/>
                  </a:cubicBezTo>
                  <a:cubicBezTo>
                    <a:pt x="175" y="91"/>
                    <a:pt x="174" y="74"/>
                    <a:pt x="173" y="66"/>
                  </a:cubicBezTo>
                  <a:cubicBezTo>
                    <a:pt x="169" y="39"/>
                    <a:pt x="157" y="25"/>
                    <a:pt x="137" y="25"/>
                  </a:cubicBezTo>
                  <a:cubicBezTo>
                    <a:pt x="121" y="25"/>
                    <a:pt x="108" y="34"/>
                    <a:pt x="99" y="53"/>
                  </a:cubicBezTo>
                  <a:cubicBezTo>
                    <a:pt x="94" y="62"/>
                    <a:pt x="91" y="71"/>
                    <a:pt x="89" y="81"/>
                  </a:cubicBezTo>
                  <a:cubicBezTo>
                    <a:pt x="87" y="91"/>
                    <a:pt x="86" y="108"/>
                    <a:pt x="86" y="134"/>
                  </a:cubicBezTo>
                  <a:cubicBezTo>
                    <a:pt x="86" y="205"/>
                    <a:pt x="86" y="205"/>
                    <a:pt x="86" y="205"/>
                  </a:cubicBezTo>
                  <a:cubicBezTo>
                    <a:pt x="86" y="227"/>
                    <a:pt x="89" y="240"/>
                    <a:pt x="93" y="245"/>
                  </a:cubicBezTo>
                  <a:cubicBezTo>
                    <a:pt x="97" y="250"/>
                    <a:pt x="105" y="252"/>
                    <a:pt x="116" y="252"/>
                  </a:cubicBezTo>
                  <a:cubicBezTo>
                    <a:pt x="124" y="252"/>
                    <a:pt x="124" y="252"/>
                    <a:pt x="124" y="252"/>
                  </a:cubicBezTo>
                  <a:cubicBezTo>
                    <a:pt x="124" y="270"/>
                    <a:pt x="124" y="270"/>
                    <a:pt x="124" y="270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252"/>
                    <a:pt x="0" y="252"/>
                    <a:pt x="0" y="252"/>
                  </a:cubicBezTo>
                  <a:cubicBezTo>
                    <a:pt x="9" y="252"/>
                    <a:pt x="9" y="252"/>
                    <a:pt x="9" y="252"/>
                  </a:cubicBezTo>
                  <a:cubicBezTo>
                    <a:pt x="19" y="252"/>
                    <a:pt x="27" y="250"/>
                    <a:pt x="31" y="245"/>
                  </a:cubicBezTo>
                  <a:cubicBezTo>
                    <a:pt x="36" y="240"/>
                    <a:pt x="38" y="226"/>
                    <a:pt x="38" y="205"/>
                  </a:cubicBezTo>
                  <a:cubicBezTo>
                    <a:pt x="38" y="69"/>
                    <a:pt x="38" y="69"/>
                    <a:pt x="38" y="69"/>
                  </a:cubicBezTo>
                  <a:cubicBezTo>
                    <a:pt x="38" y="49"/>
                    <a:pt x="36" y="36"/>
                    <a:pt x="31" y="30"/>
                  </a:cubicBezTo>
                  <a:cubicBezTo>
                    <a:pt x="27" y="26"/>
                    <a:pt x="19" y="24"/>
                    <a:pt x="9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83" y="2"/>
                    <a:pt x="83" y="2"/>
                    <a:pt x="83" y="2"/>
                  </a:cubicBezTo>
                  <a:cubicBezTo>
                    <a:pt x="83" y="49"/>
                    <a:pt x="83" y="49"/>
                    <a:pt x="83" y="49"/>
                  </a:cubicBezTo>
                  <a:cubicBezTo>
                    <a:pt x="87" y="39"/>
                    <a:pt x="92" y="31"/>
                    <a:pt x="99" y="23"/>
                  </a:cubicBezTo>
                  <a:cubicBezTo>
                    <a:pt x="113" y="8"/>
                    <a:pt x="130" y="0"/>
                    <a:pt x="150" y="0"/>
                  </a:cubicBezTo>
                  <a:cubicBezTo>
                    <a:pt x="181" y="0"/>
                    <a:pt x="203" y="18"/>
                    <a:pt x="217" y="52"/>
                  </a:cubicBezTo>
                  <a:cubicBezTo>
                    <a:pt x="234" y="18"/>
                    <a:pt x="257" y="0"/>
                    <a:pt x="288" y="0"/>
                  </a:cubicBezTo>
                  <a:cubicBezTo>
                    <a:pt x="314" y="0"/>
                    <a:pt x="333" y="10"/>
                    <a:pt x="346" y="30"/>
                  </a:cubicBezTo>
                  <a:cubicBezTo>
                    <a:pt x="353" y="41"/>
                    <a:pt x="357" y="53"/>
                    <a:pt x="358" y="66"/>
                  </a:cubicBezTo>
                  <a:cubicBezTo>
                    <a:pt x="359" y="77"/>
                    <a:pt x="360" y="89"/>
                    <a:pt x="360" y="102"/>
                  </a:cubicBezTo>
                  <a:cubicBezTo>
                    <a:pt x="360" y="205"/>
                    <a:pt x="360" y="205"/>
                    <a:pt x="360" y="205"/>
                  </a:cubicBezTo>
                  <a:cubicBezTo>
                    <a:pt x="360" y="226"/>
                    <a:pt x="362" y="240"/>
                    <a:pt x="367" y="245"/>
                  </a:cubicBezTo>
                  <a:cubicBezTo>
                    <a:pt x="371" y="250"/>
                    <a:pt x="378" y="252"/>
                    <a:pt x="389" y="252"/>
                  </a:cubicBezTo>
                  <a:cubicBezTo>
                    <a:pt x="396" y="252"/>
                    <a:pt x="396" y="252"/>
                    <a:pt x="396" y="252"/>
                  </a:cubicBezTo>
                  <a:cubicBezTo>
                    <a:pt x="396" y="270"/>
                    <a:pt x="396" y="270"/>
                    <a:pt x="396" y="270"/>
                  </a:cubicBezTo>
                  <a:lnTo>
                    <a:pt x="312" y="2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" name="Freeform 16"/>
            <p:cNvSpPr>
              <a:spLocks/>
            </p:cNvSpPr>
            <p:nvPr userDrawn="1"/>
          </p:nvSpPr>
          <p:spPr bwMode="auto">
            <a:xfrm>
              <a:off x="8721725" y="6834188"/>
              <a:ext cx="250825" cy="376237"/>
            </a:xfrm>
            <a:custGeom>
              <a:avLst/>
              <a:gdLst>
                <a:gd name="T0" fmla="*/ 168 w 184"/>
                <a:gd name="T1" fmla="*/ 6 h 275"/>
                <a:gd name="T2" fmla="*/ 168 w 184"/>
                <a:gd name="T3" fmla="*/ 89 h 275"/>
                <a:gd name="T4" fmla="*/ 151 w 184"/>
                <a:gd name="T5" fmla="*/ 89 h 275"/>
                <a:gd name="T6" fmla="*/ 84 w 184"/>
                <a:gd name="T7" fmla="*/ 17 h 275"/>
                <a:gd name="T8" fmla="*/ 53 w 184"/>
                <a:gd name="T9" fmla="*/ 28 h 275"/>
                <a:gd name="T10" fmla="*/ 41 w 184"/>
                <a:gd name="T11" fmla="*/ 57 h 275"/>
                <a:gd name="T12" fmla="*/ 58 w 184"/>
                <a:gd name="T13" fmla="*/ 88 h 275"/>
                <a:gd name="T14" fmla="*/ 88 w 184"/>
                <a:gd name="T15" fmla="*/ 101 h 275"/>
                <a:gd name="T16" fmla="*/ 152 w 184"/>
                <a:gd name="T17" fmla="*/ 128 h 275"/>
                <a:gd name="T18" fmla="*/ 184 w 184"/>
                <a:gd name="T19" fmla="*/ 191 h 275"/>
                <a:gd name="T20" fmla="*/ 156 w 184"/>
                <a:gd name="T21" fmla="*/ 255 h 275"/>
                <a:gd name="T22" fmla="*/ 98 w 184"/>
                <a:gd name="T23" fmla="*/ 275 h 275"/>
                <a:gd name="T24" fmla="*/ 59 w 184"/>
                <a:gd name="T25" fmla="*/ 268 h 275"/>
                <a:gd name="T26" fmla="*/ 33 w 184"/>
                <a:gd name="T27" fmla="*/ 254 h 275"/>
                <a:gd name="T28" fmla="*/ 26 w 184"/>
                <a:gd name="T29" fmla="*/ 252 h 275"/>
                <a:gd name="T30" fmla="*/ 16 w 184"/>
                <a:gd name="T31" fmla="*/ 270 h 275"/>
                <a:gd name="T32" fmla="*/ 0 w 184"/>
                <a:gd name="T33" fmla="*/ 270 h 275"/>
                <a:gd name="T34" fmla="*/ 0 w 184"/>
                <a:gd name="T35" fmla="*/ 172 h 275"/>
                <a:gd name="T36" fmla="*/ 16 w 184"/>
                <a:gd name="T37" fmla="*/ 172 h 275"/>
                <a:gd name="T38" fmla="*/ 37 w 184"/>
                <a:gd name="T39" fmla="*/ 224 h 275"/>
                <a:gd name="T40" fmla="*/ 63 w 184"/>
                <a:gd name="T41" fmla="*/ 248 h 275"/>
                <a:gd name="T42" fmla="*/ 97 w 184"/>
                <a:gd name="T43" fmla="*/ 257 h 275"/>
                <a:gd name="T44" fmla="*/ 131 w 184"/>
                <a:gd name="T45" fmla="*/ 242 h 275"/>
                <a:gd name="T46" fmla="*/ 144 w 184"/>
                <a:gd name="T47" fmla="*/ 210 h 275"/>
                <a:gd name="T48" fmla="*/ 120 w 184"/>
                <a:gd name="T49" fmla="*/ 170 h 275"/>
                <a:gd name="T50" fmla="*/ 69 w 184"/>
                <a:gd name="T51" fmla="*/ 149 h 275"/>
                <a:gd name="T52" fmla="*/ 28 w 184"/>
                <a:gd name="T53" fmla="*/ 128 h 275"/>
                <a:gd name="T54" fmla="*/ 2 w 184"/>
                <a:gd name="T55" fmla="*/ 72 h 275"/>
                <a:gd name="T56" fmla="*/ 26 w 184"/>
                <a:gd name="T57" fmla="*/ 19 h 275"/>
                <a:gd name="T58" fmla="*/ 80 w 184"/>
                <a:gd name="T59" fmla="*/ 0 h 275"/>
                <a:gd name="T60" fmla="*/ 134 w 184"/>
                <a:gd name="T61" fmla="*/ 16 h 275"/>
                <a:gd name="T62" fmla="*/ 142 w 184"/>
                <a:gd name="T63" fmla="*/ 19 h 275"/>
                <a:gd name="T64" fmla="*/ 151 w 184"/>
                <a:gd name="T65" fmla="*/ 6 h 275"/>
                <a:gd name="T66" fmla="*/ 168 w 184"/>
                <a:gd name="T67" fmla="*/ 6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84" h="275">
                  <a:moveTo>
                    <a:pt x="168" y="6"/>
                  </a:moveTo>
                  <a:cubicBezTo>
                    <a:pt x="168" y="89"/>
                    <a:pt x="168" y="89"/>
                    <a:pt x="168" y="89"/>
                  </a:cubicBezTo>
                  <a:cubicBezTo>
                    <a:pt x="151" y="89"/>
                    <a:pt x="151" y="89"/>
                    <a:pt x="151" y="89"/>
                  </a:cubicBezTo>
                  <a:cubicBezTo>
                    <a:pt x="141" y="41"/>
                    <a:pt x="119" y="17"/>
                    <a:pt x="84" y="17"/>
                  </a:cubicBezTo>
                  <a:cubicBezTo>
                    <a:pt x="71" y="17"/>
                    <a:pt x="61" y="21"/>
                    <a:pt x="53" y="28"/>
                  </a:cubicBezTo>
                  <a:cubicBezTo>
                    <a:pt x="45" y="36"/>
                    <a:pt x="41" y="46"/>
                    <a:pt x="41" y="57"/>
                  </a:cubicBezTo>
                  <a:cubicBezTo>
                    <a:pt x="41" y="70"/>
                    <a:pt x="46" y="80"/>
                    <a:pt x="58" y="88"/>
                  </a:cubicBezTo>
                  <a:cubicBezTo>
                    <a:pt x="63" y="92"/>
                    <a:pt x="74" y="96"/>
                    <a:pt x="88" y="101"/>
                  </a:cubicBezTo>
                  <a:cubicBezTo>
                    <a:pt x="120" y="111"/>
                    <a:pt x="142" y="120"/>
                    <a:pt x="152" y="128"/>
                  </a:cubicBezTo>
                  <a:cubicBezTo>
                    <a:pt x="173" y="144"/>
                    <a:pt x="184" y="165"/>
                    <a:pt x="184" y="191"/>
                  </a:cubicBezTo>
                  <a:cubicBezTo>
                    <a:pt x="184" y="217"/>
                    <a:pt x="175" y="238"/>
                    <a:pt x="156" y="255"/>
                  </a:cubicBezTo>
                  <a:cubicBezTo>
                    <a:pt x="141" y="269"/>
                    <a:pt x="121" y="275"/>
                    <a:pt x="98" y="275"/>
                  </a:cubicBezTo>
                  <a:cubicBezTo>
                    <a:pt x="84" y="275"/>
                    <a:pt x="71" y="273"/>
                    <a:pt x="59" y="268"/>
                  </a:cubicBezTo>
                  <a:cubicBezTo>
                    <a:pt x="55" y="266"/>
                    <a:pt x="46" y="262"/>
                    <a:pt x="33" y="254"/>
                  </a:cubicBezTo>
                  <a:cubicBezTo>
                    <a:pt x="31" y="253"/>
                    <a:pt x="28" y="252"/>
                    <a:pt x="26" y="252"/>
                  </a:cubicBezTo>
                  <a:cubicBezTo>
                    <a:pt x="23" y="252"/>
                    <a:pt x="19" y="258"/>
                    <a:pt x="16" y="270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172"/>
                    <a:pt x="0" y="172"/>
                    <a:pt x="0" y="172"/>
                  </a:cubicBezTo>
                  <a:cubicBezTo>
                    <a:pt x="16" y="172"/>
                    <a:pt x="16" y="172"/>
                    <a:pt x="16" y="172"/>
                  </a:cubicBezTo>
                  <a:cubicBezTo>
                    <a:pt x="22" y="196"/>
                    <a:pt x="29" y="214"/>
                    <a:pt x="37" y="224"/>
                  </a:cubicBezTo>
                  <a:cubicBezTo>
                    <a:pt x="44" y="234"/>
                    <a:pt x="52" y="242"/>
                    <a:pt x="63" y="248"/>
                  </a:cubicBezTo>
                  <a:cubicBezTo>
                    <a:pt x="74" y="254"/>
                    <a:pt x="85" y="257"/>
                    <a:pt x="97" y="257"/>
                  </a:cubicBezTo>
                  <a:cubicBezTo>
                    <a:pt x="112" y="257"/>
                    <a:pt x="123" y="252"/>
                    <a:pt x="131" y="242"/>
                  </a:cubicBezTo>
                  <a:cubicBezTo>
                    <a:pt x="139" y="233"/>
                    <a:pt x="144" y="222"/>
                    <a:pt x="144" y="210"/>
                  </a:cubicBezTo>
                  <a:cubicBezTo>
                    <a:pt x="144" y="193"/>
                    <a:pt x="136" y="179"/>
                    <a:pt x="120" y="170"/>
                  </a:cubicBezTo>
                  <a:cubicBezTo>
                    <a:pt x="112" y="164"/>
                    <a:pt x="95" y="158"/>
                    <a:pt x="69" y="149"/>
                  </a:cubicBezTo>
                  <a:cubicBezTo>
                    <a:pt x="52" y="144"/>
                    <a:pt x="39" y="137"/>
                    <a:pt x="28" y="128"/>
                  </a:cubicBezTo>
                  <a:cubicBezTo>
                    <a:pt x="11" y="115"/>
                    <a:pt x="2" y="97"/>
                    <a:pt x="2" y="72"/>
                  </a:cubicBezTo>
                  <a:cubicBezTo>
                    <a:pt x="2" y="50"/>
                    <a:pt x="10" y="32"/>
                    <a:pt x="26" y="19"/>
                  </a:cubicBezTo>
                  <a:cubicBezTo>
                    <a:pt x="40" y="6"/>
                    <a:pt x="58" y="0"/>
                    <a:pt x="80" y="0"/>
                  </a:cubicBezTo>
                  <a:cubicBezTo>
                    <a:pt x="99" y="0"/>
                    <a:pt x="117" y="5"/>
                    <a:pt x="134" y="16"/>
                  </a:cubicBezTo>
                  <a:cubicBezTo>
                    <a:pt x="138" y="18"/>
                    <a:pt x="140" y="19"/>
                    <a:pt x="142" y="19"/>
                  </a:cubicBezTo>
                  <a:cubicBezTo>
                    <a:pt x="146" y="19"/>
                    <a:pt x="149" y="14"/>
                    <a:pt x="151" y="6"/>
                  </a:cubicBezTo>
                  <a:lnTo>
                    <a:pt x="168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" name="Freeform 17"/>
            <p:cNvSpPr>
              <a:spLocks/>
            </p:cNvSpPr>
            <p:nvPr userDrawn="1"/>
          </p:nvSpPr>
          <p:spPr bwMode="auto">
            <a:xfrm>
              <a:off x="9055100" y="6908800"/>
              <a:ext cx="109538" cy="111125"/>
            </a:xfrm>
            <a:custGeom>
              <a:avLst/>
              <a:gdLst>
                <a:gd name="T0" fmla="*/ 0 w 69"/>
                <a:gd name="T1" fmla="*/ 70 h 70"/>
                <a:gd name="T2" fmla="*/ 0 w 69"/>
                <a:gd name="T3" fmla="*/ 0 h 70"/>
                <a:gd name="T4" fmla="*/ 38 w 69"/>
                <a:gd name="T5" fmla="*/ 0 h 70"/>
                <a:gd name="T6" fmla="*/ 69 w 69"/>
                <a:gd name="T7" fmla="*/ 0 h 70"/>
                <a:gd name="T8" fmla="*/ 69 w 69"/>
                <a:gd name="T9" fmla="*/ 70 h 70"/>
                <a:gd name="T10" fmla="*/ 0 w 69"/>
                <a:gd name="T11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9" h="70">
                  <a:moveTo>
                    <a:pt x="0" y="70"/>
                  </a:moveTo>
                  <a:lnTo>
                    <a:pt x="0" y="0"/>
                  </a:lnTo>
                  <a:lnTo>
                    <a:pt x="38" y="0"/>
                  </a:lnTo>
                  <a:lnTo>
                    <a:pt x="69" y="0"/>
                  </a:lnTo>
                  <a:lnTo>
                    <a:pt x="69" y="70"/>
                  </a:lnTo>
                  <a:lnTo>
                    <a:pt x="0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24935752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60000" y="360000"/>
            <a:ext cx="9360000" cy="830997"/>
          </a:xfrm>
          <a:noFill/>
        </p:spPr>
        <p:txBody>
          <a:bodyPr wrap="square" lIns="0" tIns="0">
            <a:spAutoFit/>
          </a:bodyPr>
          <a:lstStyle>
            <a:lvl1pPr>
              <a:defRPr sz="6000" baseline="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dirty="0" smtClean="0"/>
              <a:t>content/Agenda</a:t>
            </a:r>
          </a:p>
        </p:txBody>
      </p:sp>
    </p:spTree>
    <p:extLst>
      <p:ext uri="{BB962C8B-B14F-4D97-AF65-F5344CB8AC3E}">
        <p14:creationId xmlns:p14="http://schemas.microsoft.com/office/powerpoint/2010/main" val="868893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vertical">
    <p:bg bwMode="ltGray">
      <p:bgPr>
        <a:blipFill dpi="0" rotWithShape="1">
          <a:blip r:embed="rId4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94924269"/>
              </p:ext>
            </p:extLst>
          </p:nvPr>
        </p:nvGraphicFramePr>
        <p:xfrm>
          <a:off x="1390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17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/>
          <p:cNvSpPr/>
          <p:nvPr userDrawn="1"/>
        </p:nvSpPr>
        <p:spPr bwMode="white">
          <a:xfrm>
            <a:off x="5040184" y="1"/>
            <a:ext cx="5040442" cy="7561263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62993" tIns="62993" rIns="62993" bIns="62993" rtlCol="0" anchor="ctr"/>
          <a:lstStyle/>
          <a:p>
            <a:pPr indent="2778" algn="ctr" defTabSz="400086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575" dirty="0" smtClean="0">
              <a:cs typeface="Arial" charset="0"/>
            </a:endParaRPr>
          </a:p>
        </p:txBody>
      </p:sp>
      <p:sp>
        <p:nvSpPr>
          <p:cNvPr id="12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60363" y="360363"/>
            <a:ext cx="4319587" cy="5761037"/>
          </a:xfrm>
          <a:noFill/>
        </p:spPr>
        <p:txBody>
          <a:bodyPr wrap="square" lIns="0" tIns="0">
            <a:noAutofit/>
          </a:bodyPr>
          <a:lstStyle>
            <a:lvl1pPr>
              <a:defRPr sz="60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dirty="0" smtClean="0"/>
              <a:t>content/</a:t>
            </a:r>
            <a:br>
              <a:rPr lang="en-US" dirty="0" smtClean="0"/>
            </a:br>
            <a:r>
              <a:rPr lang="en-US" dirty="0" smtClean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525131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Living Magenta">
    <p:bg bwMode="ltGray"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60363" y="1944000"/>
            <a:ext cx="9360000" cy="2077492"/>
          </a:xfrm>
          <a:noFill/>
        </p:spPr>
        <p:txBody>
          <a:bodyPr wrap="square" lIns="0" tIns="0">
            <a:spAutoFit/>
          </a:bodyPr>
          <a:lstStyle>
            <a:lvl1pPr>
              <a:defRPr sz="75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dirty="0" smtClean="0"/>
              <a:t>Headline Ultra </a:t>
            </a:r>
            <a:br>
              <a:rPr lang="en-US" dirty="0" smtClean="0"/>
            </a:br>
            <a:r>
              <a:rPr lang="en-US" dirty="0" smtClean="0"/>
              <a:t>60 (75) 90 PT</a:t>
            </a:r>
          </a:p>
        </p:txBody>
      </p:sp>
    </p:spTree>
    <p:extLst>
      <p:ext uri="{BB962C8B-B14F-4D97-AF65-F5344CB8AC3E}">
        <p14:creationId xmlns:p14="http://schemas.microsoft.com/office/powerpoint/2010/main" val="2557249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kt 2"/>
          <p:cNvPicPr>
            <a:picLocks noChangeAspect="1"/>
          </p:cNvPicPr>
          <p:nvPr/>
        </p:nvPicPr>
        <p:blipFill>
          <a:blip r:embed="rId28"/>
          <a:srcRect/>
          <a:stretch>
            <a:fillRect/>
          </a:stretch>
        </p:blipFill>
        <p:spPr bwMode="auto">
          <a:xfrm>
            <a:off x="1588" y="1588"/>
            <a:ext cx="1587" cy="1587"/>
          </a:xfrm>
          <a:prstGeom prst="rect">
            <a:avLst/>
          </a:prstGeom>
          <a:noFill/>
        </p:spPr>
      </p:pic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gray">
          <a:xfrm>
            <a:off x="360001" y="280800"/>
            <a:ext cx="9359999" cy="588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 dirty="0" smtClean="0"/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60000" y="1620000"/>
            <a:ext cx="9360000" cy="486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o edit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2"/>
          </p:nvPr>
        </p:nvSpPr>
        <p:spPr>
          <a:xfrm>
            <a:off x="8425800" y="6840538"/>
            <a:ext cx="900000" cy="36036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150">
                <a:solidFill>
                  <a:schemeClr val="tx1"/>
                </a:solidFill>
                <a:latin typeface="Tele-GroteskNor" pitchFamily="2" charset="0"/>
              </a:defRPr>
            </a:lvl1pPr>
          </a:lstStyle>
          <a:p>
            <a:r>
              <a:rPr lang="en-US" smtClean="0"/>
              <a:t>dd.mm.yyyy</a:t>
            </a:r>
            <a:endParaRPr lang="en-US" dirty="0"/>
          </a:p>
        </p:txBody>
      </p:sp>
      <p:sp>
        <p:nvSpPr>
          <p:cNvPr id="13" name="Fußzeilenplatzhalter 12"/>
          <p:cNvSpPr>
            <a:spLocks noGrp="1"/>
          </p:cNvSpPr>
          <p:nvPr>
            <p:ph type="ftr" sz="quarter" idx="3"/>
          </p:nvPr>
        </p:nvSpPr>
        <p:spPr>
          <a:xfrm>
            <a:off x="3816000" y="6840538"/>
            <a:ext cx="4539600" cy="36036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150">
                <a:solidFill>
                  <a:schemeClr val="tx1"/>
                </a:solidFill>
                <a:latin typeface="Tele-GroteskNor" pitchFamily="2" charset="0"/>
              </a:defRPr>
            </a:lvl1pPr>
          </a:lstStyle>
          <a:p>
            <a:r>
              <a:rPr lang="en-US" noProof="0" smtClean="0"/>
              <a:t>PTE MIK PM1 2018/19-1        -        PMO Basics</a:t>
            </a:r>
            <a:endParaRPr lang="en-US" noProof="0" dirty="0" smtClean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4"/>
          </p:nvPr>
        </p:nvSpPr>
        <p:spPr>
          <a:xfrm>
            <a:off x="9396000" y="6840538"/>
            <a:ext cx="320400" cy="36036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150">
                <a:solidFill>
                  <a:schemeClr val="tx1"/>
                </a:solidFill>
                <a:latin typeface="Tele-GroteskNor" pitchFamily="2" charset="0"/>
              </a:defRPr>
            </a:lvl1pPr>
          </a:lstStyle>
          <a:p>
            <a:fld id="{12C068DA-D53D-462E-BFC0-FE45A468E8EF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grpSp>
        <p:nvGrpSpPr>
          <p:cNvPr id="2" name="Group 4"/>
          <p:cNvGrpSpPr>
            <a:grpSpLocks noChangeAspect="1"/>
          </p:cNvGrpSpPr>
          <p:nvPr/>
        </p:nvGrpSpPr>
        <p:grpSpPr bwMode="auto">
          <a:xfrm>
            <a:off x="360363" y="6840538"/>
            <a:ext cx="2516187" cy="457200"/>
            <a:chOff x="227" y="4309"/>
            <a:chExt cx="1585" cy="288"/>
          </a:xfrm>
        </p:grpSpPr>
        <p:sp>
          <p:nvSpPr>
            <p:cNvPr id="5" name="Freeform 5"/>
            <p:cNvSpPr>
              <a:spLocks/>
            </p:cNvSpPr>
            <p:nvPr userDrawn="1"/>
          </p:nvSpPr>
          <p:spPr bwMode="auto">
            <a:xfrm>
              <a:off x="227" y="4414"/>
              <a:ext cx="46" cy="46"/>
            </a:xfrm>
            <a:custGeom>
              <a:avLst/>
              <a:gdLst>
                <a:gd name="T0" fmla="*/ 0 w 46"/>
                <a:gd name="T1" fmla="*/ 46 h 46"/>
                <a:gd name="T2" fmla="*/ 0 w 46"/>
                <a:gd name="T3" fmla="*/ 0 h 46"/>
                <a:gd name="T4" fmla="*/ 22 w 46"/>
                <a:gd name="T5" fmla="*/ 0 h 46"/>
                <a:gd name="T6" fmla="*/ 46 w 46"/>
                <a:gd name="T7" fmla="*/ 0 h 46"/>
                <a:gd name="T8" fmla="*/ 46 w 46"/>
                <a:gd name="T9" fmla="*/ 46 h 46"/>
                <a:gd name="T10" fmla="*/ 0 w 46"/>
                <a:gd name="T11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" h="46">
                  <a:moveTo>
                    <a:pt x="0" y="46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46" y="0"/>
                  </a:lnTo>
                  <a:lnTo>
                    <a:pt x="46" y="46"/>
                  </a:lnTo>
                  <a:lnTo>
                    <a:pt x="0" y="46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" name="Freeform 6"/>
            <p:cNvSpPr>
              <a:spLocks/>
            </p:cNvSpPr>
            <p:nvPr userDrawn="1"/>
          </p:nvSpPr>
          <p:spPr bwMode="auto">
            <a:xfrm>
              <a:off x="368" y="4414"/>
              <a:ext cx="46" cy="46"/>
            </a:xfrm>
            <a:custGeom>
              <a:avLst/>
              <a:gdLst>
                <a:gd name="T0" fmla="*/ 0 w 46"/>
                <a:gd name="T1" fmla="*/ 46 h 46"/>
                <a:gd name="T2" fmla="*/ 0 w 46"/>
                <a:gd name="T3" fmla="*/ 0 h 46"/>
                <a:gd name="T4" fmla="*/ 25 w 46"/>
                <a:gd name="T5" fmla="*/ 0 h 46"/>
                <a:gd name="T6" fmla="*/ 46 w 46"/>
                <a:gd name="T7" fmla="*/ 0 h 46"/>
                <a:gd name="T8" fmla="*/ 46 w 46"/>
                <a:gd name="T9" fmla="*/ 46 h 46"/>
                <a:gd name="T10" fmla="*/ 0 w 46"/>
                <a:gd name="T11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" h="46">
                  <a:moveTo>
                    <a:pt x="0" y="46"/>
                  </a:moveTo>
                  <a:lnTo>
                    <a:pt x="0" y="0"/>
                  </a:lnTo>
                  <a:lnTo>
                    <a:pt x="25" y="0"/>
                  </a:lnTo>
                  <a:lnTo>
                    <a:pt x="46" y="0"/>
                  </a:lnTo>
                  <a:lnTo>
                    <a:pt x="46" y="46"/>
                  </a:lnTo>
                  <a:lnTo>
                    <a:pt x="0" y="46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" name="Freeform 7"/>
            <p:cNvSpPr>
              <a:spLocks/>
            </p:cNvSpPr>
            <p:nvPr userDrawn="1"/>
          </p:nvSpPr>
          <p:spPr bwMode="auto">
            <a:xfrm>
              <a:off x="506" y="4414"/>
              <a:ext cx="47" cy="46"/>
            </a:xfrm>
            <a:custGeom>
              <a:avLst/>
              <a:gdLst>
                <a:gd name="T0" fmla="*/ 0 w 47"/>
                <a:gd name="T1" fmla="*/ 46 h 46"/>
                <a:gd name="T2" fmla="*/ 0 w 47"/>
                <a:gd name="T3" fmla="*/ 0 h 46"/>
                <a:gd name="T4" fmla="*/ 24 w 47"/>
                <a:gd name="T5" fmla="*/ 0 h 46"/>
                <a:gd name="T6" fmla="*/ 47 w 47"/>
                <a:gd name="T7" fmla="*/ 0 h 46"/>
                <a:gd name="T8" fmla="*/ 47 w 47"/>
                <a:gd name="T9" fmla="*/ 46 h 46"/>
                <a:gd name="T10" fmla="*/ 0 w 47"/>
                <a:gd name="T11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" h="46">
                  <a:moveTo>
                    <a:pt x="0" y="46"/>
                  </a:moveTo>
                  <a:lnTo>
                    <a:pt x="0" y="0"/>
                  </a:lnTo>
                  <a:lnTo>
                    <a:pt x="24" y="0"/>
                  </a:lnTo>
                  <a:lnTo>
                    <a:pt x="47" y="0"/>
                  </a:lnTo>
                  <a:lnTo>
                    <a:pt x="47" y="46"/>
                  </a:lnTo>
                  <a:lnTo>
                    <a:pt x="0" y="46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" name="Freeform 8"/>
            <p:cNvSpPr>
              <a:spLocks/>
            </p:cNvSpPr>
            <p:nvPr userDrawn="1"/>
          </p:nvSpPr>
          <p:spPr bwMode="auto">
            <a:xfrm>
              <a:off x="645" y="4414"/>
              <a:ext cx="47" cy="46"/>
            </a:xfrm>
            <a:custGeom>
              <a:avLst/>
              <a:gdLst>
                <a:gd name="T0" fmla="*/ 0 w 47"/>
                <a:gd name="T1" fmla="*/ 46 h 46"/>
                <a:gd name="T2" fmla="*/ 0 w 47"/>
                <a:gd name="T3" fmla="*/ 0 h 46"/>
                <a:gd name="T4" fmla="*/ 21 w 47"/>
                <a:gd name="T5" fmla="*/ 0 h 46"/>
                <a:gd name="T6" fmla="*/ 47 w 47"/>
                <a:gd name="T7" fmla="*/ 0 h 46"/>
                <a:gd name="T8" fmla="*/ 47 w 47"/>
                <a:gd name="T9" fmla="*/ 46 h 46"/>
                <a:gd name="T10" fmla="*/ 0 w 47"/>
                <a:gd name="T11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" h="46">
                  <a:moveTo>
                    <a:pt x="0" y="46"/>
                  </a:moveTo>
                  <a:lnTo>
                    <a:pt x="0" y="0"/>
                  </a:lnTo>
                  <a:lnTo>
                    <a:pt x="21" y="0"/>
                  </a:lnTo>
                  <a:lnTo>
                    <a:pt x="47" y="0"/>
                  </a:lnTo>
                  <a:lnTo>
                    <a:pt x="47" y="46"/>
                  </a:lnTo>
                  <a:lnTo>
                    <a:pt x="0" y="46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" name="Freeform 9"/>
            <p:cNvSpPr>
              <a:spLocks/>
            </p:cNvSpPr>
            <p:nvPr userDrawn="1"/>
          </p:nvSpPr>
          <p:spPr bwMode="auto">
            <a:xfrm>
              <a:off x="227" y="4309"/>
              <a:ext cx="187" cy="229"/>
            </a:xfrm>
            <a:custGeom>
              <a:avLst/>
              <a:gdLst>
                <a:gd name="T0" fmla="*/ 322 w 325"/>
                <a:gd name="T1" fmla="*/ 0 h 397"/>
                <a:gd name="T2" fmla="*/ 4 w 325"/>
                <a:gd name="T3" fmla="*/ 0 h 397"/>
                <a:gd name="T4" fmla="*/ 0 w 325"/>
                <a:gd name="T5" fmla="*/ 140 h 397"/>
                <a:gd name="T6" fmla="*/ 21 w 325"/>
                <a:gd name="T7" fmla="*/ 143 h 397"/>
                <a:gd name="T8" fmla="*/ 54 w 325"/>
                <a:gd name="T9" fmla="*/ 52 h 397"/>
                <a:gd name="T10" fmla="*/ 131 w 325"/>
                <a:gd name="T11" fmla="*/ 19 h 397"/>
                <a:gd name="T12" fmla="*/ 131 w 325"/>
                <a:gd name="T13" fmla="*/ 312 h 397"/>
                <a:gd name="T14" fmla="*/ 120 w 325"/>
                <a:gd name="T15" fmla="*/ 362 h 397"/>
                <a:gd name="T16" fmla="*/ 88 w 325"/>
                <a:gd name="T17" fmla="*/ 374 h 397"/>
                <a:gd name="T18" fmla="*/ 65 w 325"/>
                <a:gd name="T19" fmla="*/ 374 h 397"/>
                <a:gd name="T20" fmla="*/ 65 w 325"/>
                <a:gd name="T21" fmla="*/ 397 h 397"/>
                <a:gd name="T22" fmla="*/ 261 w 325"/>
                <a:gd name="T23" fmla="*/ 397 h 397"/>
                <a:gd name="T24" fmla="*/ 261 w 325"/>
                <a:gd name="T25" fmla="*/ 374 h 397"/>
                <a:gd name="T26" fmla="*/ 238 w 325"/>
                <a:gd name="T27" fmla="*/ 374 h 397"/>
                <a:gd name="T28" fmla="*/ 206 w 325"/>
                <a:gd name="T29" fmla="*/ 362 h 397"/>
                <a:gd name="T30" fmla="*/ 194 w 325"/>
                <a:gd name="T31" fmla="*/ 312 h 397"/>
                <a:gd name="T32" fmla="*/ 194 w 325"/>
                <a:gd name="T33" fmla="*/ 19 h 397"/>
                <a:gd name="T34" fmla="*/ 272 w 325"/>
                <a:gd name="T35" fmla="*/ 52 h 397"/>
                <a:gd name="T36" fmla="*/ 304 w 325"/>
                <a:gd name="T37" fmla="*/ 143 h 397"/>
                <a:gd name="T38" fmla="*/ 325 w 325"/>
                <a:gd name="T39" fmla="*/ 140 h 397"/>
                <a:gd name="T40" fmla="*/ 322 w 325"/>
                <a:gd name="T41" fmla="*/ 0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25" h="397">
                  <a:moveTo>
                    <a:pt x="322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21" y="143"/>
                    <a:pt x="21" y="143"/>
                    <a:pt x="21" y="143"/>
                  </a:cubicBezTo>
                  <a:cubicBezTo>
                    <a:pt x="25" y="102"/>
                    <a:pt x="36" y="72"/>
                    <a:pt x="54" y="52"/>
                  </a:cubicBezTo>
                  <a:cubicBezTo>
                    <a:pt x="72" y="31"/>
                    <a:pt x="98" y="20"/>
                    <a:pt x="131" y="19"/>
                  </a:cubicBezTo>
                  <a:cubicBezTo>
                    <a:pt x="131" y="312"/>
                    <a:pt x="131" y="312"/>
                    <a:pt x="131" y="312"/>
                  </a:cubicBezTo>
                  <a:cubicBezTo>
                    <a:pt x="131" y="337"/>
                    <a:pt x="127" y="354"/>
                    <a:pt x="120" y="362"/>
                  </a:cubicBezTo>
                  <a:cubicBezTo>
                    <a:pt x="114" y="368"/>
                    <a:pt x="103" y="372"/>
                    <a:pt x="88" y="374"/>
                  </a:cubicBezTo>
                  <a:cubicBezTo>
                    <a:pt x="83" y="374"/>
                    <a:pt x="76" y="374"/>
                    <a:pt x="65" y="374"/>
                  </a:cubicBezTo>
                  <a:cubicBezTo>
                    <a:pt x="65" y="397"/>
                    <a:pt x="65" y="397"/>
                    <a:pt x="65" y="397"/>
                  </a:cubicBezTo>
                  <a:cubicBezTo>
                    <a:pt x="261" y="397"/>
                    <a:pt x="261" y="397"/>
                    <a:pt x="261" y="397"/>
                  </a:cubicBezTo>
                  <a:cubicBezTo>
                    <a:pt x="261" y="374"/>
                    <a:pt x="261" y="374"/>
                    <a:pt x="261" y="374"/>
                  </a:cubicBezTo>
                  <a:cubicBezTo>
                    <a:pt x="250" y="374"/>
                    <a:pt x="242" y="374"/>
                    <a:pt x="238" y="374"/>
                  </a:cubicBezTo>
                  <a:cubicBezTo>
                    <a:pt x="223" y="372"/>
                    <a:pt x="212" y="368"/>
                    <a:pt x="206" y="362"/>
                  </a:cubicBezTo>
                  <a:cubicBezTo>
                    <a:pt x="198" y="354"/>
                    <a:pt x="194" y="337"/>
                    <a:pt x="194" y="312"/>
                  </a:cubicBezTo>
                  <a:cubicBezTo>
                    <a:pt x="194" y="19"/>
                    <a:pt x="194" y="19"/>
                    <a:pt x="194" y="19"/>
                  </a:cubicBezTo>
                  <a:cubicBezTo>
                    <a:pt x="228" y="20"/>
                    <a:pt x="253" y="31"/>
                    <a:pt x="272" y="52"/>
                  </a:cubicBezTo>
                  <a:cubicBezTo>
                    <a:pt x="290" y="72"/>
                    <a:pt x="301" y="102"/>
                    <a:pt x="304" y="143"/>
                  </a:cubicBezTo>
                  <a:cubicBezTo>
                    <a:pt x="325" y="140"/>
                    <a:pt x="325" y="140"/>
                    <a:pt x="325" y="140"/>
                  </a:cubicBezTo>
                  <a:lnTo>
                    <a:pt x="322" y="0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" name="Freeform 10"/>
            <p:cNvSpPr>
              <a:spLocks/>
            </p:cNvSpPr>
            <p:nvPr userDrawn="1"/>
          </p:nvSpPr>
          <p:spPr bwMode="auto">
            <a:xfrm>
              <a:off x="732" y="4313"/>
              <a:ext cx="137" cy="230"/>
            </a:xfrm>
            <a:custGeom>
              <a:avLst/>
              <a:gdLst>
                <a:gd name="T0" fmla="*/ 202 w 239"/>
                <a:gd name="T1" fmla="*/ 134 h 400"/>
                <a:gd name="T2" fmla="*/ 175 w 239"/>
                <a:gd name="T3" fmla="*/ 59 h 400"/>
                <a:gd name="T4" fmla="*/ 108 w 239"/>
                <a:gd name="T5" fmla="*/ 20 h 400"/>
                <a:gd name="T6" fmla="*/ 66 w 239"/>
                <a:gd name="T7" fmla="*/ 35 h 400"/>
                <a:gd name="T8" fmla="*/ 45 w 239"/>
                <a:gd name="T9" fmla="*/ 84 h 400"/>
                <a:gd name="T10" fmla="*/ 68 w 239"/>
                <a:gd name="T11" fmla="*/ 134 h 400"/>
                <a:gd name="T12" fmla="*/ 120 w 239"/>
                <a:gd name="T13" fmla="*/ 159 h 400"/>
                <a:gd name="T14" fmla="*/ 198 w 239"/>
                <a:gd name="T15" fmla="*/ 193 h 400"/>
                <a:gd name="T16" fmla="*/ 239 w 239"/>
                <a:gd name="T17" fmla="*/ 279 h 400"/>
                <a:gd name="T18" fmla="*/ 205 w 239"/>
                <a:gd name="T19" fmla="*/ 367 h 400"/>
                <a:gd name="T20" fmla="*/ 127 w 239"/>
                <a:gd name="T21" fmla="*/ 400 h 400"/>
                <a:gd name="T22" fmla="*/ 82 w 239"/>
                <a:gd name="T23" fmla="*/ 391 h 400"/>
                <a:gd name="T24" fmla="*/ 52 w 239"/>
                <a:gd name="T25" fmla="*/ 374 h 400"/>
                <a:gd name="T26" fmla="*/ 40 w 239"/>
                <a:gd name="T27" fmla="*/ 370 h 400"/>
                <a:gd name="T28" fmla="*/ 26 w 239"/>
                <a:gd name="T29" fmla="*/ 378 h 400"/>
                <a:gd name="T30" fmla="*/ 18 w 239"/>
                <a:gd name="T31" fmla="*/ 391 h 400"/>
                <a:gd name="T32" fmla="*/ 0 w 239"/>
                <a:gd name="T33" fmla="*/ 391 h 400"/>
                <a:gd name="T34" fmla="*/ 0 w 239"/>
                <a:gd name="T35" fmla="*/ 252 h 400"/>
                <a:gd name="T36" fmla="*/ 19 w 239"/>
                <a:gd name="T37" fmla="*/ 252 h 400"/>
                <a:gd name="T38" fmla="*/ 46 w 239"/>
                <a:gd name="T39" fmla="*/ 332 h 400"/>
                <a:gd name="T40" fmla="*/ 124 w 239"/>
                <a:gd name="T41" fmla="*/ 379 h 400"/>
                <a:gd name="T42" fmla="*/ 171 w 239"/>
                <a:gd name="T43" fmla="*/ 363 h 400"/>
                <a:gd name="T44" fmla="*/ 195 w 239"/>
                <a:gd name="T45" fmla="*/ 304 h 400"/>
                <a:gd name="T46" fmla="*/ 158 w 239"/>
                <a:gd name="T47" fmla="*/ 239 h 400"/>
                <a:gd name="T48" fmla="*/ 94 w 239"/>
                <a:gd name="T49" fmla="*/ 214 h 400"/>
                <a:gd name="T50" fmla="*/ 35 w 239"/>
                <a:gd name="T51" fmla="*/ 183 h 400"/>
                <a:gd name="T52" fmla="*/ 3 w 239"/>
                <a:gd name="T53" fmla="*/ 107 h 400"/>
                <a:gd name="T54" fmla="*/ 38 w 239"/>
                <a:gd name="T55" fmla="*/ 25 h 400"/>
                <a:gd name="T56" fmla="*/ 105 w 239"/>
                <a:gd name="T57" fmla="*/ 0 h 400"/>
                <a:gd name="T58" fmla="*/ 148 w 239"/>
                <a:gd name="T59" fmla="*/ 8 h 400"/>
                <a:gd name="T60" fmla="*/ 175 w 239"/>
                <a:gd name="T61" fmla="*/ 23 h 400"/>
                <a:gd name="T62" fmla="*/ 185 w 239"/>
                <a:gd name="T63" fmla="*/ 26 h 400"/>
                <a:gd name="T64" fmla="*/ 203 w 239"/>
                <a:gd name="T65" fmla="*/ 8 h 400"/>
                <a:gd name="T66" fmla="*/ 219 w 239"/>
                <a:gd name="T67" fmla="*/ 8 h 400"/>
                <a:gd name="T68" fmla="*/ 219 w 239"/>
                <a:gd name="T69" fmla="*/ 134 h 400"/>
                <a:gd name="T70" fmla="*/ 202 w 239"/>
                <a:gd name="T71" fmla="*/ 134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39" h="400">
                  <a:moveTo>
                    <a:pt x="202" y="134"/>
                  </a:moveTo>
                  <a:cubicBezTo>
                    <a:pt x="195" y="100"/>
                    <a:pt x="186" y="75"/>
                    <a:pt x="175" y="59"/>
                  </a:cubicBezTo>
                  <a:cubicBezTo>
                    <a:pt x="158" y="33"/>
                    <a:pt x="135" y="20"/>
                    <a:pt x="108" y="20"/>
                  </a:cubicBezTo>
                  <a:cubicBezTo>
                    <a:pt x="91" y="20"/>
                    <a:pt x="77" y="25"/>
                    <a:pt x="66" y="35"/>
                  </a:cubicBezTo>
                  <a:cubicBezTo>
                    <a:pt x="52" y="47"/>
                    <a:pt x="45" y="63"/>
                    <a:pt x="45" y="84"/>
                  </a:cubicBezTo>
                  <a:cubicBezTo>
                    <a:pt x="45" y="105"/>
                    <a:pt x="53" y="122"/>
                    <a:pt x="68" y="134"/>
                  </a:cubicBezTo>
                  <a:cubicBezTo>
                    <a:pt x="77" y="142"/>
                    <a:pt x="94" y="150"/>
                    <a:pt x="120" y="159"/>
                  </a:cubicBezTo>
                  <a:cubicBezTo>
                    <a:pt x="159" y="172"/>
                    <a:pt x="184" y="184"/>
                    <a:pt x="198" y="193"/>
                  </a:cubicBezTo>
                  <a:cubicBezTo>
                    <a:pt x="225" y="214"/>
                    <a:pt x="239" y="243"/>
                    <a:pt x="239" y="279"/>
                  </a:cubicBezTo>
                  <a:cubicBezTo>
                    <a:pt x="239" y="314"/>
                    <a:pt x="228" y="344"/>
                    <a:pt x="205" y="367"/>
                  </a:cubicBezTo>
                  <a:cubicBezTo>
                    <a:pt x="184" y="389"/>
                    <a:pt x="158" y="400"/>
                    <a:pt x="127" y="400"/>
                  </a:cubicBezTo>
                  <a:cubicBezTo>
                    <a:pt x="111" y="400"/>
                    <a:pt x="96" y="397"/>
                    <a:pt x="82" y="391"/>
                  </a:cubicBezTo>
                  <a:cubicBezTo>
                    <a:pt x="76" y="388"/>
                    <a:pt x="66" y="383"/>
                    <a:pt x="52" y="374"/>
                  </a:cubicBezTo>
                  <a:cubicBezTo>
                    <a:pt x="48" y="372"/>
                    <a:pt x="44" y="370"/>
                    <a:pt x="40" y="370"/>
                  </a:cubicBezTo>
                  <a:cubicBezTo>
                    <a:pt x="34" y="370"/>
                    <a:pt x="30" y="373"/>
                    <a:pt x="26" y="378"/>
                  </a:cubicBezTo>
                  <a:cubicBezTo>
                    <a:pt x="24" y="381"/>
                    <a:pt x="21" y="385"/>
                    <a:pt x="18" y="391"/>
                  </a:cubicBezTo>
                  <a:cubicBezTo>
                    <a:pt x="0" y="391"/>
                    <a:pt x="0" y="391"/>
                    <a:pt x="0" y="391"/>
                  </a:cubicBezTo>
                  <a:cubicBezTo>
                    <a:pt x="0" y="252"/>
                    <a:pt x="0" y="252"/>
                    <a:pt x="0" y="252"/>
                  </a:cubicBezTo>
                  <a:cubicBezTo>
                    <a:pt x="19" y="252"/>
                    <a:pt x="19" y="252"/>
                    <a:pt x="19" y="252"/>
                  </a:cubicBezTo>
                  <a:cubicBezTo>
                    <a:pt x="25" y="287"/>
                    <a:pt x="35" y="314"/>
                    <a:pt x="46" y="332"/>
                  </a:cubicBezTo>
                  <a:cubicBezTo>
                    <a:pt x="66" y="364"/>
                    <a:pt x="92" y="379"/>
                    <a:pt x="124" y="379"/>
                  </a:cubicBezTo>
                  <a:cubicBezTo>
                    <a:pt x="143" y="379"/>
                    <a:pt x="159" y="374"/>
                    <a:pt x="171" y="363"/>
                  </a:cubicBezTo>
                  <a:cubicBezTo>
                    <a:pt x="187" y="348"/>
                    <a:pt x="195" y="329"/>
                    <a:pt x="195" y="304"/>
                  </a:cubicBezTo>
                  <a:cubicBezTo>
                    <a:pt x="195" y="275"/>
                    <a:pt x="183" y="253"/>
                    <a:pt x="158" y="239"/>
                  </a:cubicBezTo>
                  <a:cubicBezTo>
                    <a:pt x="150" y="234"/>
                    <a:pt x="129" y="226"/>
                    <a:pt x="94" y="214"/>
                  </a:cubicBezTo>
                  <a:cubicBezTo>
                    <a:pt x="69" y="206"/>
                    <a:pt x="49" y="195"/>
                    <a:pt x="35" y="183"/>
                  </a:cubicBezTo>
                  <a:cubicBezTo>
                    <a:pt x="14" y="164"/>
                    <a:pt x="3" y="139"/>
                    <a:pt x="3" y="107"/>
                  </a:cubicBezTo>
                  <a:cubicBezTo>
                    <a:pt x="3" y="72"/>
                    <a:pt x="15" y="45"/>
                    <a:pt x="38" y="25"/>
                  </a:cubicBezTo>
                  <a:cubicBezTo>
                    <a:pt x="56" y="8"/>
                    <a:pt x="79" y="0"/>
                    <a:pt x="105" y="0"/>
                  </a:cubicBezTo>
                  <a:cubicBezTo>
                    <a:pt x="119" y="0"/>
                    <a:pt x="134" y="2"/>
                    <a:pt x="148" y="8"/>
                  </a:cubicBezTo>
                  <a:cubicBezTo>
                    <a:pt x="153" y="10"/>
                    <a:pt x="162" y="15"/>
                    <a:pt x="175" y="23"/>
                  </a:cubicBezTo>
                  <a:cubicBezTo>
                    <a:pt x="179" y="25"/>
                    <a:pt x="182" y="26"/>
                    <a:pt x="185" y="26"/>
                  </a:cubicBezTo>
                  <a:cubicBezTo>
                    <a:pt x="191" y="26"/>
                    <a:pt x="197" y="20"/>
                    <a:pt x="203" y="8"/>
                  </a:cubicBezTo>
                  <a:cubicBezTo>
                    <a:pt x="219" y="8"/>
                    <a:pt x="219" y="8"/>
                    <a:pt x="219" y="8"/>
                  </a:cubicBezTo>
                  <a:cubicBezTo>
                    <a:pt x="219" y="134"/>
                    <a:pt x="219" y="134"/>
                    <a:pt x="219" y="134"/>
                  </a:cubicBezTo>
                  <a:lnTo>
                    <a:pt x="202" y="134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auto">
            <a:xfrm>
              <a:off x="878" y="4386"/>
              <a:ext cx="149" cy="211"/>
            </a:xfrm>
            <a:custGeom>
              <a:avLst/>
              <a:gdLst>
                <a:gd name="T0" fmla="*/ 0 w 258"/>
                <a:gd name="T1" fmla="*/ 0 h 367"/>
                <a:gd name="T2" fmla="*/ 119 w 258"/>
                <a:gd name="T3" fmla="*/ 0 h 367"/>
                <a:gd name="T4" fmla="*/ 119 w 258"/>
                <a:gd name="T5" fmla="*/ 18 h 367"/>
                <a:gd name="T6" fmla="*/ 109 w 258"/>
                <a:gd name="T7" fmla="*/ 18 h 367"/>
                <a:gd name="T8" fmla="*/ 86 w 258"/>
                <a:gd name="T9" fmla="*/ 30 h 367"/>
                <a:gd name="T10" fmla="*/ 90 w 258"/>
                <a:gd name="T11" fmla="*/ 46 h 367"/>
                <a:gd name="T12" fmla="*/ 147 w 258"/>
                <a:gd name="T13" fmla="*/ 196 h 367"/>
                <a:gd name="T14" fmla="*/ 197 w 258"/>
                <a:gd name="T15" fmla="*/ 57 h 367"/>
                <a:gd name="T16" fmla="*/ 202 w 258"/>
                <a:gd name="T17" fmla="*/ 34 h 367"/>
                <a:gd name="T18" fmla="*/ 177 w 258"/>
                <a:gd name="T19" fmla="*/ 18 h 367"/>
                <a:gd name="T20" fmla="*/ 164 w 258"/>
                <a:gd name="T21" fmla="*/ 18 h 367"/>
                <a:gd name="T22" fmla="*/ 164 w 258"/>
                <a:gd name="T23" fmla="*/ 0 h 367"/>
                <a:gd name="T24" fmla="*/ 258 w 258"/>
                <a:gd name="T25" fmla="*/ 0 h 367"/>
                <a:gd name="T26" fmla="*/ 258 w 258"/>
                <a:gd name="T27" fmla="*/ 18 h 367"/>
                <a:gd name="T28" fmla="*/ 252 w 258"/>
                <a:gd name="T29" fmla="*/ 18 h 367"/>
                <a:gd name="T30" fmla="*/ 235 w 258"/>
                <a:gd name="T31" fmla="*/ 26 h 367"/>
                <a:gd name="T32" fmla="*/ 226 w 258"/>
                <a:gd name="T33" fmla="*/ 44 h 367"/>
                <a:gd name="T34" fmla="*/ 131 w 258"/>
                <a:gd name="T35" fmla="*/ 299 h 367"/>
                <a:gd name="T36" fmla="*/ 101 w 258"/>
                <a:gd name="T37" fmla="*/ 351 h 367"/>
                <a:gd name="T38" fmla="*/ 60 w 258"/>
                <a:gd name="T39" fmla="*/ 367 h 367"/>
                <a:gd name="T40" fmla="*/ 25 w 258"/>
                <a:gd name="T41" fmla="*/ 355 h 367"/>
                <a:gd name="T42" fmla="*/ 7 w 258"/>
                <a:gd name="T43" fmla="*/ 318 h 367"/>
                <a:gd name="T44" fmla="*/ 15 w 258"/>
                <a:gd name="T45" fmla="*/ 295 h 367"/>
                <a:gd name="T46" fmla="*/ 38 w 258"/>
                <a:gd name="T47" fmla="*/ 285 h 367"/>
                <a:gd name="T48" fmla="*/ 62 w 258"/>
                <a:gd name="T49" fmla="*/ 296 h 367"/>
                <a:gd name="T50" fmla="*/ 67 w 258"/>
                <a:gd name="T51" fmla="*/ 313 h 367"/>
                <a:gd name="T52" fmla="*/ 58 w 258"/>
                <a:gd name="T53" fmla="*/ 334 h 367"/>
                <a:gd name="T54" fmla="*/ 43 w 258"/>
                <a:gd name="T55" fmla="*/ 341 h 367"/>
                <a:gd name="T56" fmla="*/ 61 w 258"/>
                <a:gd name="T57" fmla="*/ 348 h 367"/>
                <a:gd name="T58" fmla="*/ 90 w 258"/>
                <a:gd name="T59" fmla="*/ 335 h 367"/>
                <a:gd name="T60" fmla="*/ 115 w 258"/>
                <a:gd name="T61" fmla="*/ 284 h 367"/>
                <a:gd name="T62" fmla="*/ 121 w 258"/>
                <a:gd name="T63" fmla="*/ 266 h 367"/>
                <a:gd name="T64" fmla="*/ 42 w 258"/>
                <a:gd name="T65" fmla="*/ 55 h 367"/>
                <a:gd name="T66" fmla="*/ 27 w 258"/>
                <a:gd name="T67" fmla="*/ 24 h 367"/>
                <a:gd name="T68" fmla="*/ 4 w 258"/>
                <a:gd name="T69" fmla="*/ 18 h 367"/>
                <a:gd name="T70" fmla="*/ 0 w 258"/>
                <a:gd name="T71" fmla="*/ 18 h 367"/>
                <a:gd name="T72" fmla="*/ 0 w 258"/>
                <a:gd name="T73" fmla="*/ 0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58" h="367">
                  <a:moveTo>
                    <a:pt x="0" y="0"/>
                  </a:moveTo>
                  <a:cubicBezTo>
                    <a:pt x="119" y="0"/>
                    <a:pt x="119" y="0"/>
                    <a:pt x="119" y="0"/>
                  </a:cubicBezTo>
                  <a:cubicBezTo>
                    <a:pt x="119" y="18"/>
                    <a:pt x="119" y="18"/>
                    <a:pt x="119" y="18"/>
                  </a:cubicBezTo>
                  <a:cubicBezTo>
                    <a:pt x="109" y="18"/>
                    <a:pt x="109" y="18"/>
                    <a:pt x="109" y="18"/>
                  </a:cubicBezTo>
                  <a:cubicBezTo>
                    <a:pt x="93" y="18"/>
                    <a:pt x="86" y="22"/>
                    <a:pt x="86" y="30"/>
                  </a:cubicBezTo>
                  <a:cubicBezTo>
                    <a:pt x="86" y="34"/>
                    <a:pt x="87" y="39"/>
                    <a:pt x="90" y="46"/>
                  </a:cubicBezTo>
                  <a:cubicBezTo>
                    <a:pt x="147" y="196"/>
                    <a:pt x="147" y="196"/>
                    <a:pt x="147" y="196"/>
                  </a:cubicBezTo>
                  <a:cubicBezTo>
                    <a:pt x="197" y="57"/>
                    <a:pt x="197" y="57"/>
                    <a:pt x="197" y="57"/>
                  </a:cubicBezTo>
                  <a:cubicBezTo>
                    <a:pt x="200" y="47"/>
                    <a:pt x="202" y="39"/>
                    <a:pt x="202" y="34"/>
                  </a:cubicBezTo>
                  <a:cubicBezTo>
                    <a:pt x="202" y="23"/>
                    <a:pt x="194" y="18"/>
                    <a:pt x="177" y="18"/>
                  </a:cubicBezTo>
                  <a:cubicBezTo>
                    <a:pt x="164" y="18"/>
                    <a:pt x="164" y="18"/>
                    <a:pt x="164" y="18"/>
                  </a:cubicBezTo>
                  <a:cubicBezTo>
                    <a:pt x="164" y="0"/>
                    <a:pt x="164" y="0"/>
                    <a:pt x="164" y="0"/>
                  </a:cubicBezTo>
                  <a:cubicBezTo>
                    <a:pt x="258" y="0"/>
                    <a:pt x="258" y="0"/>
                    <a:pt x="258" y="0"/>
                  </a:cubicBezTo>
                  <a:cubicBezTo>
                    <a:pt x="258" y="18"/>
                    <a:pt x="258" y="18"/>
                    <a:pt x="258" y="18"/>
                  </a:cubicBezTo>
                  <a:cubicBezTo>
                    <a:pt x="252" y="18"/>
                    <a:pt x="252" y="18"/>
                    <a:pt x="252" y="18"/>
                  </a:cubicBezTo>
                  <a:cubicBezTo>
                    <a:pt x="245" y="18"/>
                    <a:pt x="240" y="20"/>
                    <a:pt x="235" y="26"/>
                  </a:cubicBezTo>
                  <a:cubicBezTo>
                    <a:pt x="232" y="29"/>
                    <a:pt x="229" y="36"/>
                    <a:pt x="226" y="44"/>
                  </a:cubicBezTo>
                  <a:cubicBezTo>
                    <a:pt x="131" y="299"/>
                    <a:pt x="131" y="299"/>
                    <a:pt x="131" y="299"/>
                  </a:cubicBezTo>
                  <a:cubicBezTo>
                    <a:pt x="122" y="323"/>
                    <a:pt x="112" y="340"/>
                    <a:pt x="101" y="351"/>
                  </a:cubicBezTo>
                  <a:cubicBezTo>
                    <a:pt x="90" y="362"/>
                    <a:pt x="76" y="367"/>
                    <a:pt x="60" y="367"/>
                  </a:cubicBezTo>
                  <a:cubicBezTo>
                    <a:pt x="46" y="367"/>
                    <a:pt x="34" y="363"/>
                    <a:pt x="25" y="355"/>
                  </a:cubicBezTo>
                  <a:cubicBezTo>
                    <a:pt x="13" y="345"/>
                    <a:pt x="7" y="333"/>
                    <a:pt x="7" y="318"/>
                  </a:cubicBezTo>
                  <a:cubicBezTo>
                    <a:pt x="7" y="309"/>
                    <a:pt x="10" y="301"/>
                    <a:pt x="15" y="295"/>
                  </a:cubicBezTo>
                  <a:cubicBezTo>
                    <a:pt x="21" y="288"/>
                    <a:pt x="28" y="285"/>
                    <a:pt x="38" y="285"/>
                  </a:cubicBezTo>
                  <a:cubicBezTo>
                    <a:pt x="49" y="285"/>
                    <a:pt x="57" y="289"/>
                    <a:pt x="62" y="296"/>
                  </a:cubicBezTo>
                  <a:cubicBezTo>
                    <a:pt x="66" y="301"/>
                    <a:pt x="67" y="306"/>
                    <a:pt x="67" y="313"/>
                  </a:cubicBezTo>
                  <a:cubicBezTo>
                    <a:pt x="67" y="321"/>
                    <a:pt x="64" y="328"/>
                    <a:pt x="58" y="334"/>
                  </a:cubicBezTo>
                  <a:cubicBezTo>
                    <a:pt x="54" y="337"/>
                    <a:pt x="49" y="340"/>
                    <a:pt x="43" y="341"/>
                  </a:cubicBezTo>
                  <a:cubicBezTo>
                    <a:pt x="48" y="345"/>
                    <a:pt x="53" y="348"/>
                    <a:pt x="61" y="348"/>
                  </a:cubicBezTo>
                  <a:cubicBezTo>
                    <a:pt x="72" y="348"/>
                    <a:pt x="82" y="343"/>
                    <a:pt x="90" y="335"/>
                  </a:cubicBezTo>
                  <a:cubicBezTo>
                    <a:pt x="97" y="327"/>
                    <a:pt x="106" y="310"/>
                    <a:pt x="115" y="284"/>
                  </a:cubicBezTo>
                  <a:cubicBezTo>
                    <a:pt x="121" y="266"/>
                    <a:pt x="121" y="266"/>
                    <a:pt x="121" y="266"/>
                  </a:cubicBezTo>
                  <a:cubicBezTo>
                    <a:pt x="42" y="55"/>
                    <a:pt x="42" y="55"/>
                    <a:pt x="42" y="55"/>
                  </a:cubicBezTo>
                  <a:cubicBezTo>
                    <a:pt x="36" y="38"/>
                    <a:pt x="31" y="28"/>
                    <a:pt x="27" y="24"/>
                  </a:cubicBezTo>
                  <a:cubicBezTo>
                    <a:pt x="21" y="20"/>
                    <a:pt x="14" y="18"/>
                    <a:pt x="4" y="18"/>
                  </a:cubicBezTo>
                  <a:cubicBezTo>
                    <a:pt x="0" y="18"/>
                    <a:pt x="0" y="18"/>
                    <a:pt x="0" y="18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" name="Freeform 12"/>
            <p:cNvSpPr>
              <a:spLocks/>
            </p:cNvSpPr>
            <p:nvPr userDrawn="1"/>
          </p:nvSpPr>
          <p:spPr bwMode="auto">
            <a:xfrm>
              <a:off x="1029" y="4382"/>
              <a:ext cx="106" cy="159"/>
            </a:xfrm>
            <a:custGeom>
              <a:avLst/>
              <a:gdLst>
                <a:gd name="T0" fmla="*/ 168 w 184"/>
                <a:gd name="T1" fmla="*/ 6 h 275"/>
                <a:gd name="T2" fmla="*/ 168 w 184"/>
                <a:gd name="T3" fmla="*/ 89 h 275"/>
                <a:gd name="T4" fmla="*/ 151 w 184"/>
                <a:gd name="T5" fmla="*/ 89 h 275"/>
                <a:gd name="T6" fmla="*/ 84 w 184"/>
                <a:gd name="T7" fmla="*/ 17 h 275"/>
                <a:gd name="T8" fmla="*/ 53 w 184"/>
                <a:gd name="T9" fmla="*/ 28 h 275"/>
                <a:gd name="T10" fmla="*/ 41 w 184"/>
                <a:gd name="T11" fmla="*/ 57 h 275"/>
                <a:gd name="T12" fmla="*/ 58 w 184"/>
                <a:gd name="T13" fmla="*/ 88 h 275"/>
                <a:gd name="T14" fmla="*/ 89 w 184"/>
                <a:gd name="T15" fmla="*/ 101 h 275"/>
                <a:gd name="T16" fmla="*/ 152 w 184"/>
                <a:gd name="T17" fmla="*/ 128 h 275"/>
                <a:gd name="T18" fmla="*/ 184 w 184"/>
                <a:gd name="T19" fmla="*/ 191 h 275"/>
                <a:gd name="T20" fmla="*/ 157 w 184"/>
                <a:gd name="T21" fmla="*/ 255 h 275"/>
                <a:gd name="T22" fmla="*/ 98 w 184"/>
                <a:gd name="T23" fmla="*/ 275 h 275"/>
                <a:gd name="T24" fmla="*/ 60 w 184"/>
                <a:gd name="T25" fmla="*/ 268 h 275"/>
                <a:gd name="T26" fmla="*/ 34 w 184"/>
                <a:gd name="T27" fmla="*/ 254 h 275"/>
                <a:gd name="T28" fmla="*/ 26 w 184"/>
                <a:gd name="T29" fmla="*/ 252 h 275"/>
                <a:gd name="T30" fmla="*/ 16 w 184"/>
                <a:gd name="T31" fmla="*/ 270 h 275"/>
                <a:gd name="T32" fmla="*/ 0 w 184"/>
                <a:gd name="T33" fmla="*/ 270 h 275"/>
                <a:gd name="T34" fmla="*/ 0 w 184"/>
                <a:gd name="T35" fmla="*/ 172 h 275"/>
                <a:gd name="T36" fmla="*/ 16 w 184"/>
                <a:gd name="T37" fmla="*/ 172 h 275"/>
                <a:gd name="T38" fmla="*/ 37 w 184"/>
                <a:gd name="T39" fmla="*/ 224 h 275"/>
                <a:gd name="T40" fmla="*/ 63 w 184"/>
                <a:gd name="T41" fmla="*/ 248 h 275"/>
                <a:gd name="T42" fmla="*/ 97 w 184"/>
                <a:gd name="T43" fmla="*/ 257 h 275"/>
                <a:gd name="T44" fmla="*/ 132 w 184"/>
                <a:gd name="T45" fmla="*/ 242 h 275"/>
                <a:gd name="T46" fmla="*/ 144 w 184"/>
                <a:gd name="T47" fmla="*/ 210 h 275"/>
                <a:gd name="T48" fmla="*/ 120 w 184"/>
                <a:gd name="T49" fmla="*/ 170 h 275"/>
                <a:gd name="T50" fmla="*/ 70 w 184"/>
                <a:gd name="T51" fmla="*/ 149 h 275"/>
                <a:gd name="T52" fmla="*/ 28 w 184"/>
                <a:gd name="T53" fmla="*/ 128 h 275"/>
                <a:gd name="T54" fmla="*/ 3 w 184"/>
                <a:gd name="T55" fmla="*/ 72 h 275"/>
                <a:gd name="T56" fmla="*/ 26 w 184"/>
                <a:gd name="T57" fmla="*/ 19 h 275"/>
                <a:gd name="T58" fmla="*/ 80 w 184"/>
                <a:gd name="T59" fmla="*/ 0 h 275"/>
                <a:gd name="T60" fmla="*/ 134 w 184"/>
                <a:gd name="T61" fmla="*/ 16 h 275"/>
                <a:gd name="T62" fmla="*/ 143 w 184"/>
                <a:gd name="T63" fmla="*/ 19 h 275"/>
                <a:gd name="T64" fmla="*/ 151 w 184"/>
                <a:gd name="T65" fmla="*/ 6 h 275"/>
                <a:gd name="T66" fmla="*/ 168 w 184"/>
                <a:gd name="T67" fmla="*/ 6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84" h="275">
                  <a:moveTo>
                    <a:pt x="168" y="6"/>
                  </a:moveTo>
                  <a:cubicBezTo>
                    <a:pt x="168" y="89"/>
                    <a:pt x="168" y="89"/>
                    <a:pt x="168" y="89"/>
                  </a:cubicBezTo>
                  <a:cubicBezTo>
                    <a:pt x="151" y="89"/>
                    <a:pt x="151" y="89"/>
                    <a:pt x="151" y="89"/>
                  </a:cubicBezTo>
                  <a:cubicBezTo>
                    <a:pt x="142" y="41"/>
                    <a:pt x="119" y="17"/>
                    <a:pt x="84" y="17"/>
                  </a:cubicBezTo>
                  <a:cubicBezTo>
                    <a:pt x="71" y="17"/>
                    <a:pt x="61" y="21"/>
                    <a:pt x="53" y="28"/>
                  </a:cubicBezTo>
                  <a:cubicBezTo>
                    <a:pt x="45" y="36"/>
                    <a:pt x="41" y="46"/>
                    <a:pt x="41" y="57"/>
                  </a:cubicBezTo>
                  <a:cubicBezTo>
                    <a:pt x="41" y="70"/>
                    <a:pt x="47" y="80"/>
                    <a:pt x="58" y="88"/>
                  </a:cubicBezTo>
                  <a:cubicBezTo>
                    <a:pt x="64" y="92"/>
                    <a:pt x="74" y="96"/>
                    <a:pt x="89" y="101"/>
                  </a:cubicBezTo>
                  <a:cubicBezTo>
                    <a:pt x="120" y="111"/>
                    <a:pt x="142" y="120"/>
                    <a:pt x="152" y="128"/>
                  </a:cubicBezTo>
                  <a:cubicBezTo>
                    <a:pt x="173" y="144"/>
                    <a:pt x="184" y="165"/>
                    <a:pt x="184" y="191"/>
                  </a:cubicBezTo>
                  <a:cubicBezTo>
                    <a:pt x="184" y="217"/>
                    <a:pt x="175" y="238"/>
                    <a:pt x="157" y="255"/>
                  </a:cubicBezTo>
                  <a:cubicBezTo>
                    <a:pt x="141" y="269"/>
                    <a:pt x="122" y="275"/>
                    <a:pt x="98" y="275"/>
                  </a:cubicBezTo>
                  <a:cubicBezTo>
                    <a:pt x="84" y="275"/>
                    <a:pt x="71" y="273"/>
                    <a:pt x="60" y="268"/>
                  </a:cubicBezTo>
                  <a:cubicBezTo>
                    <a:pt x="55" y="266"/>
                    <a:pt x="46" y="262"/>
                    <a:pt x="34" y="254"/>
                  </a:cubicBezTo>
                  <a:cubicBezTo>
                    <a:pt x="31" y="253"/>
                    <a:pt x="28" y="252"/>
                    <a:pt x="26" y="252"/>
                  </a:cubicBezTo>
                  <a:cubicBezTo>
                    <a:pt x="23" y="252"/>
                    <a:pt x="19" y="258"/>
                    <a:pt x="16" y="270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172"/>
                    <a:pt x="0" y="172"/>
                    <a:pt x="0" y="172"/>
                  </a:cubicBezTo>
                  <a:cubicBezTo>
                    <a:pt x="16" y="172"/>
                    <a:pt x="16" y="172"/>
                    <a:pt x="16" y="172"/>
                  </a:cubicBezTo>
                  <a:cubicBezTo>
                    <a:pt x="23" y="196"/>
                    <a:pt x="30" y="214"/>
                    <a:pt x="37" y="224"/>
                  </a:cubicBezTo>
                  <a:cubicBezTo>
                    <a:pt x="44" y="234"/>
                    <a:pt x="53" y="242"/>
                    <a:pt x="63" y="248"/>
                  </a:cubicBezTo>
                  <a:cubicBezTo>
                    <a:pt x="74" y="254"/>
                    <a:pt x="85" y="257"/>
                    <a:pt x="97" y="257"/>
                  </a:cubicBezTo>
                  <a:cubicBezTo>
                    <a:pt x="112" y="257"/>
                    <a:pt x="123" y="252"/>
                    <a:pt x="132" y="242"/>
                  </a:cubicBezTo>
                  <a:cubicBezTo>
                    <a:pt x="140" y="233"/>
                    <a:pt x="144" y="222"/>
                    <a:pt x="144" y="210"/>
                  </a:cubicBezTo>
                  <a:cubicBezTo>
                    <a:pt x="144" y="193"/>
                    <a:pt x="136" y="179"/>
                    <a:pt x="120" y="170"/>
                  </a:cubicBezTo>
                  <a:cubicBezTo>
                    <a:pt x="112" y="164"/>
                    <a:pt x="95" y="158"/>
                    <a:pt x="70" y="149"/>
                  </a:cubicBezTo>
                  <a:cubicBezTo>
                    <a:pt x="53" y="144"/>
                    <a:pt x="39" y="137"/>
                    <a:pt x="28" y="128"/>
                  </a:cubicBezTo>
                  <a:cubicBezTo>
                    <a:pt x="11" y="115"/>
                    <a:pt x="3" y="97"/>
                    <a:pt x="3" y="72"/>
                  </a:cubicBezTo>
                  <a:cubicBezTo>
                    <a:pt x="3" y="50"/>
                    <a:pt x="10" y="32"/>
                    <a:pt x="26" y="19"/>
                  </a:cubicBezTo>
                  <a:cubicBezTo>
                    <a:pt x="40" y="6"/>
                    <a:pt x="58" y="0"/>
                    <a:pt x="80" y="0"/>
                  </a:cubicBezTo>
                  <a:cubicBezTo>
                    <a:pt x="99" y="0"/>
                    <a:pt x="117" y="5"/>
                    <a:pt x="134" y="16"/>
                  </a:cubicBezTo>
                  <a:cubicBezTo>
                    <a:pt x="138" y="18"/>
                    <a:pt x="141" y="19"/>
                    <a:pt x="143" y="19"/>
                  </a:cubicBezTo>
                  <a:cubicBezTo>
                    <a:pt x="146" y="19"/>
                    <a:pt x="149" y="14"/>
                    <a:pt x="151" y="6"/>
                  </a:cubicBezTo>
                  <a:lnTo>
                    <a:pt x="168" y="6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" name="Freeform 13"/>
            <p:cNvSpPr>
              <a:spLocks/>
            </p:cNvSpPr>
            <p:nvPr userDrawn="1"/>
          </p:nvSpPr>
          <p:spPr bwMode="auto">
            <a:xfrm>
              <a:off x="1139" y="4328"/>
              <a:ext cx="101" cy="213"/>
            </a:xfrm>
            <a:custGeom>
              <a:avLst/>
              <a:gdLst>
                <a:gd name="T0" fmla="*/ 90 w 176"/>
                <a:gd name="T1" fmla="*/ 119 h 369"/>
                <a:gd name="T2" fmla="*/ 90 w 176"/>
                <a:gd name="T3" fmla="*/ 278 h 369"/>
                <a:gd name="T4" fmla="*/ 94 w 176"/>
                <a:gd name="T5" fmla="*/ 323 h 369"/>
                <a:gd name="T6" fmla="*/ 122 w 176"/>
                <a:gd name="T7" fmla="*/ 345 h 369"/>
                <a:gd name="T8" fmla="*/ 149 w 176"/>
                <a:gd name="T9" fmla="*/ 326 h 369"/>
                <a:gd name="T10" fmla="*/ 157 w 176"/>
                <a:gd name="T11" fmla="*/ 281 h 369"/>
                <a:gd name="T12" fmla="*/ 157 w 176"/>
                <a:gd name="T13" fmla="*/ 273 h 369"/>
                <a:gd name="T14" fmla="*/ 176 w 176"/>
                <a:gd name="T15" fmla="*/ 273 h 369"/>
                <a:gd name="T16" fmla="*/ 176 w 176"/>
                <a:gd name="T17" fmla="*/ 284 h 369"/>
                <a:gd name="T18" fmla="*/ 159 w 176"/>
                <a:gd name="T19" fmla="*/ 347 h 369"/>
                <a:gd name="T20" fmla="*/ 108 w 176"/>
                <a:gd name="T21" fmla="*/ 369 h 369"/>
                <a:gd name="T22" fmla="*/ 58 w 176"/>
                <a:gd name="T23" fmla="*/ 350 h 369"/>
                <a:gd name="T24" fmla="*/ 43 w 176"/>
                <a:gd name="T25" fmla="*/ 315 h 369"/>
                <a:gd name="T26" fmla="*/ 42 w 176"/>
                <a:gd name="T27" fmla="*/ 278 h 369"/>
                <a:gd name="T28" fmla="*/ 42 w 176"/>
                <a:gd name="T29" fmla="*/ 119 h 369"/>
                <a:gd name="T30" fmla="*/ 0 w 176"/>
                <a:gd name="T31" fmla="*/ 119 h 369"/>
                <a:gd name="T32" fmla="*/ 0 w 176"/>
                <a:gd name="T33" fmla="*/ 103 h 369"/>
                <a:gd name="T34" fmla="*/ 54 w 176"/>
                <a:gd name="T35" fmla="*/ 72 h 369"/>
                <a:gd name="T36" fmla="*/ 74 w 176"/>
                <a:gd name="T37" fmla="*/ 0 h 369"/>
                <a:gd name="T38" fmla="*/ 90 w 176"/>
                <a:gd name="T39" fmla="*/ 0 h 369"/>
                <a:gd name="T40" fmla="*/ 90 w 176"/>
                <a:gd name="T41" fmla="*/ 100 h 369"/>
                <a:gd name="T42" fmla="*/ 167 w 176"/>
                <a:gd name="T43" fmla="*/ 100 h 369"/>
                <a:gd name="T44" fmla="*/ 167 w 176"/>
                <a:gd name="T45" fmla="*/ 119 h 369"/>
                <a:gd name="T46" fmla="*/ 90 w 176"/>
                <a:gd name="T47" fmla="*/ 119 h 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6" h="369">
                  <a:moveTo>
                    <a:pt x="90" y="119"/>
                  </a:moveTo>
                  <a:cubicBezTo>
                    <a:pt x="90" y="278"/>
                    <a:pt x="90" y="278"/>
                    <a:pt x="90" y="278"/>
                  </a:cubicBezTo>
                  <a:cubicBezTo>
                    <a:pt x="90" y="299"/>
                    <a:pt x="92" y="314"/>
                    <a:pt x="94" y="323"/>
                  </a:cubicBezTo>
                  <a:cubicBezTo>
                    <a:pt x="99" y="338"/>
                    <a:pt x="108" y="345"/>
                    <a:pt x="122" y="345"/>
                  </a:cubicBezTo>
                  <a:cubicBezTo>
                    <a:pt x="134" y="345"/>
                    <a:pt x="143" y="339"/>
                    <a:pt x="149" y="326"/>
                  </a:cubicBezTo>
                  <a:cubicBezTo>
                    <a:pt x="154" y="314"/>
                    <a:pt x="157" y="299"/>
                    <a:pt x="157" y="281"/>
                  </a:cubicBezTo>
                  <a:cubicBezTo>
                    <a:pt x="157" y="273"/>
                    <a:pt x="157" y="273"/>
                    <a:pt x="157" y="273"/>
                  </a:cubicBezTo>
                  <a:cubicBezTo>
                    <a:pt x="176" y="273"/>
                    <a:pt x="176" y="273"/>
                    <a:pt x="176" y="273"/>
                  </a:cubicBezTo>
                  <a:cubicBezTo>
                    <a:pt x="176" y="284"/>
                    <a:pt x="176" y="284"/>
                    <a:pt x="176" y="284"/>
                  </a:cubicBezTo>
                  <a:cubicBezTo>
                    <a:pt x="176" y="310"/>
                    <a:pt x="170" y="331"/>
                    <a:pt x="159" y="347"/>
                  </a:cubicBezTo>
                  <a:cubicBezTo>
                    <a:pt x="148" y="362"/>
                    <a:pt x="131" y="369"/>
                    <a:pt x="108" y="369"/>
                  </a:cubicBezTo>
                  <a:cubicBezTo>
                    <a:pt x="85" y="369"/>
                    <a:pt x="69" y="363"/>
                    <a:pt x="58" y="350"/>
                  </a:cubicBezTo>
                  <a:cubicBezTo>
                    <a:pt x="50" y="340"/>
                    <a:pt x="45" y="329"/>
                    <a:pt x="43" y="315"/>
                  </a:cubicBezTo>
                  <a:cubicBezTo>
                    <a:pt x="42" y="305"/>
                    <a:pt x="42" y="293"/>
                    <a:pt x="42" y="278"/>
                  </a:cubicBezTo>
                  <a:cubicBezTo>
                    <a:pt x="42" y="119"/>
                    <a:pt x="42" y="119"/>
                    <a:pt x="42" y="119"/>
                  </a:cubicBezTo>
                  <a:cubicBezTo>
                    <a:pt x="0" y="119"/>
                    <a:pt x="0" y="119"/>
                    <a:pt x="0" y="119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27" y="97"/>
                    <a:pt x="45" y="86"/>
                    <a:pt x="54" y="72"/>
                  </a:cubicBezTo>
                  <a:cubicBezTo>
                    <a:pt x="64" y="57"/>
                    <a:pt x="71" y="33"/>
                    <a:pt x="74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0" y="100"/>
                    <a:pt x="90" y="100"/>
                    <a:pt x="90" y="100"/>
                  </a:cubicBezTo>
                  <a:cubicBezTo>
                    <a:pt x="167" y="100"/>
                    <a:pt x="167" y="100"/>
                    <a:pt x="167" y="100"/>
                  </a:cubicBezTo>
                  <a:cubicBezTo>
                    <a:pt x="167" y="119"/>
                    <a:pt x="167" y="119"/>
                    <a:pt x="167" y="119"/>
                  </a:cubicBezTo>
                  <a:lnTo>
                    <a:pt x="90" y="119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" name="Freeform 14"/>
            <p:cNvSpPr>
              <a:spLocks noEditPoints="1"/>
            </p:cNvSpPr>
            <p:nvPr userDrawn="1"/>
          </p:nvSpPr>
          <p:spPr bwMode="auto">
            <a:xfrm>
              <a:off x="1250" y="4381"/>
              <a:ext cx="120" cy="161"/>
            </a:xfrm>
            <a:custGeom>
              <a:avLst/>
              <a:gdLst>
                <a:gd name="T0" fmla="*/ 210 w 210"/>
                <a:gd name="T1" fmla="*/ 138 h 280"/>
                <a:gd name="T2" fmla="*/ 53 w 210"/>
                <a:gd name="T3" fmla="*/ 138 h 280"/>
                <a:gd name="T4" fmla="*/ 65 w 210"/>
                <a:gd name="T5" fmla="*/ 220 h 280"/>
                <a:gd name="T6" fmla="*/ 119 w 210"/>
                <a:gd name="T7" fmla="*/ 257 h 280"/>
                <a:gd name="T8" fmla="*/ 168 w 210"/>
                <a:gd name="T9" fmla="*/ 234 h 280"/>
                <a:gd name="T10" fmla="*/ 190 w 210"/>
                <a:gd name="T11" fmla="*/ 198 h 280"/>
                <a:gd name="T12" fmla="*/ 207 w 210"/>
                <a:gd name="T13" fmla="*/ 207 h 280"/>
                <a:gd name="T14" fmla="*/ 110 w 210"/>
                <a:gd name="T15" fmla="*/ 280 h 280"/>
                <a:gd name="T16" fmla="*/ 36 w 210"/>
                <a:gd name="T17" fmla="*/ 249 h 280"/>
                <a:gd name="T18" fmla="*/ 0 w 210"/>
                <a:gd name="T19" fmla="*/ 138 h 280"/>
                <a:gd name="T20" fmla="*/ 36 w 210"/>
                <a:gd name="T21" fmla="*/ 31 h 280"/>
                <a:gd name="T22" fmla="*/ 104 w 210"/>
                <a:gd name="T23" fmla="*/ 0 h 280"/>
                <a:gd name="T24" fmla="*/ 193 w 210"/>
                <a:gd name="T25" fmla="*/ 59 h 280"/>
                <a:gd name="T26" fmla="*/ 210 w 210"/>
                <a:gd name="T27" fmla="*/ 138 h 280"/>
                <a:gd name="T28" fmla="*/ 157 w 210"/>
                <a:gd name="T29" fmla="*/ 118 h 280"/>
                <a:gd name="T30" fmla="*/ 150 w 210"/>
                <a:gd name="T31" fmla="*/ 60 h 280"/>
                <a:gd name="T32" fmla="*/ 107 w 210"/>
                <a:gd name="T33" fmla="*/ 20 h 280"/>
                <a:gd name="T34" fmla="*/ 60 w 210"/>
                <a:gd name="T35" fmla="*/ 69 h 280"/>
                <a:gd name="T36" fmla="*/ 54 w 210"/>
                <a:gd name="T37" fmla="*/ 118 h 280"/>
                <a:gd name="T38" fmla="*/ 157 w 210"/>
                <a:gd name="T39" fmla="*/ 118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10" h="280">
                  <a:moveTo>
                    <a:pt x="210" y="138"/>
                  </a:moveTo>
                  <a:cubicBezTo>
                    <a:pt x="53" y="138"/>
                    <a:pt x="53" y="138"/>
                    <a:pt x="53" y="138"/>
                  </a:cubicBezTo>
                  <a:cubicBezTo>
                    <a:pt x="54" y="175"/>
                    <a:pt x="58" y="202"/>
                    <a:pt x="65" y="220"/>
                  </a:cubicBezTo>
                  <a:cubicBezTo>
                    <a:pt x="75" y="245"/>
                    <a:pt x="93" y="257"/>
                    <a:pt x="119" y="257"/>
                  </a:cubicBezTo>
                  <a:cubicBezTo>
                    <a:pt x="139" y="257"/>
                    <a:pt x="155" y="249"/>
                    <a:pt x="168" y="234"/>
                  </a:cubicBezTo>
                  <a:cubicBezTo>
                    <a:pt x="176" y="225"/>
                    <a:pt x="183" y="213"/>
                    <a:pt x="190" y="198"/>
                  </a:cubicBezTo>
                  <a:cubicBezTo>
                    <a:pt x="207" y="207"/>
                    <a:pt x="207" y="207"/>
                    <a:pt x="207" y="207"/>
                  </a:cubicBezTo>
                  <a:cubicBezTo>
                    <a:pt x="183" y="256"/>
                    <a:pt x="151" y="280"/>
                    <a:pt x="110" y="280"/>
                  </a:cubicBezTo>
                  <a:cubicBezTo>
                    <a:pt x="80" y="280"/>
                    <a:pt x="55" y="269"/>
                    <a:pt x="36" y="249"/>
                  </a:cubicBezTo>
                  <a:cubicBezTo>
                    <a:pt x="12" y="223"/>
                    <a:pt x="0" y="186"/>
                    <a:pt x="0" y="138"/>
                  </a:cubicBezTo>
                  <a:cubicBezTo>
                    <a:pt x="0" y="94"/>
                    <a:pt x="12" y="58"/>
                    <a:pt x="36" y="31"/>
                  </a:cubicBezTo>
                  <a:cubicBezTo>
                    <a:pt x="55" y="10"/>
                    <a:pt x="77" y="0"/>
                    <a:pt x="104" y="0"/>
                  </a:cubicBezTo>
                  <a:cubicBezTo>
                    <a:pt x="143" y="0"/>
                    <a:pt x="173" y="19"/>
                    <a:pt x="193" y="59"/>
                  </a:cubicBezTo>
                  <a:cubicBezTo>
                    <a:pt x="203" y="80"/>
                    <a:pt x="209" y="106"/>
                    <a:pt x="210" y="138"/>
                  </a:cubicBezTo>
                  <a:close/>
                  <a:moveTo>
                    <a:pt x="157" y="118"/>
                  </a:moveTo>
                  <a:cubicBezTo>
                    <a:pt x="157" y="94"/>
                    <a:pt x="155" y="75"/>
                    <a:pt x="150" y="60"/>
                  </a:cubicBezTo>
                  <a:cubicBezTo>
                    <a:pt x="141" y="33"/>
                    <a:pt x="126" y="20"/>
                    <a:pt x="107" y="20"/>
                  </a:cubicBezTo>
                  <a:cubicBezTo>
                    <a:pt x="85" y="20"/>
                    <a:pt x="69" y="36"/>
                    <a:pt x="60" y="69"/>
                  </a:cubicBezTo>
                  <a:cubicBezTo>
                    <a:pt x="56" y="82"/>
                    <a:pt x="54" y="99"/>
                    <a:pt x="54" y="118"/>
                  </a:cubicBezTo>
                  <a:lnTo>
                    <a:pt x="157" y="118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" name="Freeform 15"/>
            <p:cNvSpPr>
              <a:spLocks/>
            </p:cNvSpPr>
            <p:nvPr userDrawn="1"/>
          </p:nvSpPr>
          <p:spPr bwMode="auto">
            <a:xfrm>
              <a:off x="1382" y="4382"/>
              <a:ext cx="228" cy="156"/>
            </a:xfrm>
            <a:custGeom>
              <a:avLst/>
              <a:gdLst>
                <a:gd name="T0" fmla="*/ 312 w 396"/>
                <a:gd name="T1" fmla="*/ 270 h 270"/>
                <a:gd name="T2" fmla="*/ 312 w 396"/>
                <a:gd name="T3" fmla="*/ 108 h 270"/>
                <a:gd name="T4" fmla="*/ 305 w 396"/>
                <a:gd name="T5" fmla="*/ 44 h 270"/>
                <a:gd name="T6" fmla="*/ 275 w 396"/>
                <a:gd name="T7" fmla="*/ 25 h 270"/>
                <a:gd name="T8" fmla="*/ 236 w 396"/>
                <a:gd name="T9" fmla="*/ 52 h 270"/>
                <a:gd name="T10" fmla="*/ 225 w 396"/>
                <a:gd name="T11" fmla="*/ 84 h 270"/>
                <a:gd name="T12" fmla="*/ 223 w 396"/>
                <a:gd name="T13" fmla="*/ 134 h 270"/>
                <a:gd name="T14" fmla="*/ 223 w 396"/>
                <a:gd name="T15" fmla="*/ 205 h 270"/>
                <a:gd name="T16" fmla="*/ 230 w 396"/>
                <a:gd name="T17" fmla="*/ 245 h 270"/>
                <a:gd name="T18" fmla="*/ 252 w 396"/>
                <a:gd name="T19" fmla="*/ 252 h 270"/>
                <a:gd name="T20" fmla="*/ 261 w 396"/>
                <a:gd name="T21" fmla="*/ 252 h 270"/>
                <a:gd name="T22" fmla="*/ 261 w 396"/>
                <a:gd name="T23" fmla="*/ 270 h 270"/>
                <a:gd name="T24" fmla="*/ 175 w 396"/>
                <a:gd name="T25" fmla="*/ 270 h 270"/>
                <a:gd name="T26" fmla="*/ 175 w 396"/>
                <a:gd name="T27" fmla="*/ 117 h 270"/>
                <a:gd name="T28" fmla="*/ 173 w 396"/>
                <a:gd name="T29" fmla="*/ 66 h 270"/>
                <a:gd name="T30" fmla="*/ 137 w 396"/>
                <a:gd name="T31" fmla="*/ 25 h 270"/>
                <a:gd name="T32" fmla="*/ 99 w 396"/>
                <a:gd name="T33" fmla="*/ 53 h 270"/>
                <a:gd name="T34" fmla="*/ 89 w 396"/>
                <a:gd name="T35" fmla="*/ 81 h 270"/>
                <a:gd name="T36" fmla="*/ 86 w 396"/>
                <a:gd name="T37" fmla="*/ 134 h 270"/>
                <a:gd name="T38" fmla="*/ 86 w 396"/>
                <a:gd name="T39" fmla="*/ 205 h 270"/>
                <a:gd name="T40" fmla="*/ 93 w 396"/>
                <a:gd name="T41" fmla="*/ 245 h 270"/>
                <a:gd name="T42" fmla="*/ 116 w 396"/>
                <a:gd name="T43" fmla="*/ 252 h 270"/>
                <a:gd name="T44" fmla="*/ 124 w 396"/>
                <a:gd name="T45" fmla="*/ 252 h 270"/>
                <a:gd name="T46" fmla="*/ 124 w 396"/>
                <a:gd name="T47" fmla="*/ 270 h 270"/>
                <a:gd name="T48" fmla="*/ 0 w 396"/>
                <a:gd name="T49" fmla="*/ 270 h 270"/>
                <a:gd name="T50" fmla="*/ 0 w 396"/>
                <a:gd name="T51" fmla="*/ 252 h 270"/>
                <a:gd name="T52" fmla="*/ 9 w 396"/>
                <a:gd name="T53" fmla="*/ 252 h 270"/>
                <a:gd name="T54" fmla="*/ 31 w 396"/>
                <a:gd name="T55" fmla="*/ 245 h 270"/>
                <a:gd name="T56" fmla="*/ 38 w 396"/>
                <a:gd name="T57" fmla="*/ 205 h 270"/>
                <a:gd name="T58" fmla="*/ 38 w 396"/>
                <a:gd name="T59" fmla="*/ 69 h 270"/>
                <a:gd name="T60" fmla="*/ 31 w 396"/>
                <a:gd name="T61" fmla="*/ 30 h 270"/>
                <a:gd name="T62" fmla="*/ 9 w 396"/>
                <a:gd name="T63" fmla="*/ 24 h 270"/>
                <a:gd name="T64" fmla="*/ 2 w 396"/>
                <a:gd name="T65" fmla="*/ 24 h 270"/>
                <a:gd name="T66" fmla="*/ 2 w 396"/>
                <a:gd name="T67" fmla="*/ 6 h 270"/>
                <a:gd name="T68" fmla="*/ 83 w 396"/>
                <a:gd name="T69" fmla="*/ 2 h 270"/>
                <a:gd name="T70" fmla="*/ 83 w 396"/>
                <a:gd name="T71" fmla="*/ 49 h 270"/>
                <a:gd name="T72" fmla="*/ 99 w 396"/>
                <a:gd name="T73" fmla="*/ 23 h 270"/>
                <a:gd name="T74" fmla="*/ 150 w 396"/>
                <a:gd name="T75" fmla="*/ 0 h 270"/>
                <a:gd name="T76" fmla="*/ 217 w 396"/>
                <a:gd name="T77" fmla="*/ 52 h 270"/>
                <a:gd name="T78" fmla="*/ 288 w 396"/>
                <a:gd name="T79" fmla="*/ 0 h 270"/>
                <a:gd name="T80" fmla="*/ 346 w 396"/>
                <a:gd name="T81" fmla="*/ 30 h 270"/>
                <a:gd name="T82" fmla="*/ 358 w 396"/>
                <a:gd name="T83" fmla="*/ 66 h 270"/>
                <a:gd name="T84" fmla="*/ 360 w 396"/>
                <a:gd name="T85" fmla="*/ 102 h 270"/>
                <a:gd name="T86" fmla="*/ 360 w 396"/>
                <a:gd name="T87" fmla="*/ 205 h 270"/>
                <a:gd name="T88" fmla="*/ 367 w 396"/>
                <a:gd name="T89" fmla="*/ 245 h 270"/>
                <a:gd name="T90" fmla="*/ 389 w 396"/>
                <a:gd name="T91" fmla="*/ 252 h 270"/>
                <a:gd name="T92" fmla="*/ 396 w 396"/>
                <a:gd name="T93" fmla="*/ 252 h 270"/>
                <a:gd name="T94" fmla="*/ 396 w 396"/>
                <a:gd name="T95" fmla="*/ 270 h 270"/>
                <a:gd name="T96" fmla="*/ 312 w 396"/>
                <a:gd name="T97" fmla="*/ 27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96" h="270">
                  <a:moveTo>
                    <a:pt x="312" y="270"/>
                  </a:moveTo>
                  <a:cubicBezTo>
                    <a:pt x="312" y="108"/>
                    <a:pt x="312" y="108"/>
                    <a:pt x="312" y="108"/>
                  </a:cubicBezTo>
                  <a:cubicBezTo>
                    <a:pt x="312" y="75"/>
                    <a:pt x="309" y="54"/>
                    <a:pt x="305" y="44"/>
                  </a:cubicBezTo>
                  <a:cubicBezTo>
                    <a:pt x="298" y="31"/>
                    <a:pt x="288" y="25"/>
                    <a:pt x="275" y="25"/>
                  </a:cubicBezTo>
                  <a:cubicBezTo>
                    <a:pt x="259" y="25"/>
                    <a:pt x="246" y="34"/>
                    <a:pt x="236" y="52"/>
                  </a:cubicBezTo>
                  <a:cubicBezTo>
                    <a:pt x="231" y="62"/>
                    <a:pt x="227" y="73"/>
                    <a:pt x="225" y="84"/>
                  </a:cubicBezTo>
                  <a:cubicBezTo>
                    <a:pt x="224" y="93"/>
                    <a:pt x="223" y="109"/>
                    <a:pt x="223" y="134"/>
                  </a:cubicBezTo>
                  <a:cubicBezTo>
                    <a:pt x="223" y="205"/>
                    <a:pt x="223" y="205"/>
                    <a:pt x="223" y="205"/>
                  </a:cubicBezTo>
                  <a:cubicBezTo>
                    <a:pt x="223" y="226"/>
                    <a:pt x="226" y="240"/>
                    <a:pt x="230" y="245"/>
                  </a:cubicBezTo>
                  <a:cubicBezTo>
                    <a:pt x="234" y="250"/>
                    <a:pt x="242" y="252"/>
                    <a:pt x="252" y="252"/>
                  </a:cubicBezTo>
                  <a:cubicBezTo>
                    <a:pt x="261" y="252"/>
                    <a:pt x="261" y="252"/>
                    <a:pt x="261" y="252"/>
                  </a:cubicBezTo>
                  <a:cubicBezTo>
                    <a:pt x="261" y="270"/>
                    <a:pt x="261" y="270"/>
                    <a:pt x="261" y="270"/>
                  </a:cubicBezTo>
                  <a:cubicBezTo>
                    <a:pt x="175" y="270"/>
                    <a:pt x="175" y="270"/>
                    <a:pt x="175" y="270"/>
                  </a:cubicBezTo>
                  <a:cubicBezTo>
                    <a:pt x="175" y="117"/>
                    <a:pt x="175" y="117"/>
                    <a:pt x="175" y="117"/>
                  </a:cubicBezTo>
                  <a:cubicBezTo>
                    <a:pt x="175" y="91"/>
                    <a:pt x="174" y="74"/>
                    <a:pt x="173" y="66"/>
                  </a:cubicBezTo>
                  <a:cubicBezTo>
                    <a:pt x="169" y="39"/>
                    <a:pt x="157" y="25"/>
                    <a:pt x="137" y="25"/>
                  </a:cubicBezTo>
                  <a:cubicBezTo>
                    <a:pt x="121" y="25"/>
                    <a:pt x="108" y="34"/>
                    <a:pt x="99" y="53"/>
                  </a:cubicBezTo>
                  <a:cubicBezTo>
                    <a:pt x="94" y="62"/>
                    <a:pt x="91" y="71"/>
                    <a:pt x="89" y="81"/>
                  </a:cubicBezTo>
                  <a:cubicBezTo>
                    <a:pt x="87" y="91"/>
                    <a:pt x="86" y="108"/>
                    <a:pt x="86" y="134"/>
                  </a:cubicBezTo>
                  <a:cubicBezTo>
                    <a:pt x="86" y="205"/>
                    <a:pt x="86" y="205"/>
                    <a:pt x="86" y="205"/>
                  </a:cubicBezTo>
                  <a:cubicBezTo>
                    <a:pt x="86" y="227"/>
                    <a:pt x="89" y="240"/>
                    <a:pt x="93" y="245"/>
                  </a:cubicBezTo>
                  <a:cubicBezTo>
                    <a:pt x="97" y="250"/>
                    <a:pt x="105" y="252"/>
                    <a:pt x="116" y="252"/>
                  </a:cubicBezTo>
                  <a:cubicBezTo>
                    <a:pt x="124" y="252"/>
                    <a:pt x="124" y="252"/>
                    <a:pt x="124" y="252"/>
                  </a:cubicBezTo>
                  <a:cubicBezTo>
                    <a:pt x="124" y="270"/>
                    <a:pt x="124" y="270"/>
                    <a:pt x="124" y="270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252"/>
                    <a:pt x="0" y="252"/>
                    <a:pt x="0" y="252"/>
                  </a:cubicBezTo>
                  <a:cubicBezTo>
                    <a:pt x="9" y="252"/>
                    <a:pt x="9" y="252"/>
                    <a:pt x="9" y="252"/>
                  </a:cubicBezTo>
                  <a:cubicBezTo>
                    <a:pt x="19" y="252"/>
                    <a:pt x="27" y="250"/>
                    <a:pt x="31" y="245"/>
                  </a:cubicBezTo>
                  <a:cubicBezTo>
                    <a:pt x="36" y="240"/>
                    <a:pt x="38" y="226"/>
                    <a:pt x="38" y="205"/>
                  </a:cubicBezTo>
                  <a:cubicBezTo>
                    <a:pt x="38" y="69"/>
                    <a:pt x="38" y="69"/>
                    <a:pt x="38" y="69"/>
                  </a:cubicBezTo>
                  <a:cubicBezTo>
                    <a:pt x="38" y="49"/>
                    <a:pt x="36" y="36"/>
                    <a:pt x="31" y="30"/>
                  </a:cubicBezTo>
                  <a:cubicBezTo>
                    <a:pt x="27" y="26"/>
                    <a:pt x="19" y="24"/>
                    <a:pt x="9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83" y="2"/>
                    <a:pt x="83" y="2"/>
                    <a:pt x="83" y="2"/>
                  </a:cubicBezTo>
                  <a:cubicBezTo>
                    <a:pt x="83" y="49"/>
                    <a:pt x="83" y="49"/>
                    <a:pt x="83" y="49"/>
                  </a:cubicBezTo>
                  <a:cubicBezTo>
                    <a:pt x="87" y="39"/>
                    <a:pt x="92" y="31"/>
                    <a:pt x="99" y="23"/>
                  </a:cubicBezTo>
                  <a:cubicBezTo>
                    <a:pt x="113" y="8"/>
                    <a:pt x="130" y="0"/>
                    <a:pt x="150" y="0"/>
                  </a:cubicBezTo>
                  <a:cubicBezTo>
                    <a:pt x="181" y="0"/>
                    <a:pt x="203" y="18"/>
                    <a:pt x="217" y="52"/>
                  </a:cubicBezTo>
                  <a:cubicBezTo>
                    <a:pt x="234" y="18"/>
                    <a:pt x="257" y="0"/>
                    <a:pt x="288" y="0"/>
                  </a:cubicBezTo>
                  <a:cubicBezTo>
                    <a:pt x="314" y="0"/>
                    <a:pt x="333" y="10"/>
                    <a:pt x="346" y="30"/>
                  </a:cubicBezTo>
                  <a:cubicBezTo>
                    <a:pt x="353" y="41"/>
                    <a:pt x="357" y="53"/>
                    <a:pt x="358" y="66"/>
                  </a:cubicBezTo>
                  <a:cubicBezTo>
                    <a:pt x="359" y="77"/>
                    <a:pt x="360" y="89"/>
                    <a:pt x="360" y="102"/>
                  </a:cubicBezTo>
                  <a:cubicBezTo>
                    <a:pt x="360" y="205"/>
                    <a:pt x="360" y="205"/>
                    <a:pt x="360" y="205"/>
                  </a:cubicBezTo>
                  <a:cubicBezTo>
                    <a:pt x="360" y="226"/>
                    <a:pt x="362" y="240"/>
                    <a:pt x="367" y="245"/>
                  </a:cubicBezTo>
                  <a:cubicBezTo>
                    <a:pt x="371" y="250"/>
                    <a:pt x="378" y="252"/>
                    <a:pt x="389" y="252"/>
                  </a:cubicBezTo>
                  <a:cubicBezTo>
                    <a:pt x="396" y="252"/>
                    <a:pt x="396" y="252"/>
                    <a:pt x="396" y="252"/>
                  </a:cubicBezTo>
                  <a:cubicBezTo>
                    <a:pt x="396" y="270"/>
                    <a:pt x="396" y="270"/>
                    <a:pt x="396" y="270"/>
                  </a:cubicBezTo>
                  <a:lnTo>
                    <a:pt x="312" y="270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" name="Freeform 16"/>
            <p:cNvSpPr>
              <a:spLocks/>
            </p:cNvSpPr>
            <p:nvPr userDrawn="1"/>
          </p:nvSpPr>
          <p:spPr bwMode="auto">
            <a:xfrm>
              <a:off x="1625" y="4382"/>
              <a:ext cx="106" cy="159"/>
            </a:xfrm>
            <a:custGeom>
              <a:avLst/>
              <a:gdLst>
                <a:gd name="T0" fmla="*/ 168 w 184"/>
                <a:gd name="T1" fmla="*/ 6 h 275"/>
                <a:gd name="T2" fmla="*/ 168 w 184"/>
                <a:gd name="T3" fmla="*/ 89 h 275"/>
                <a:gd name="T4" fmla="*/ 151 w 184"/>
                <a:gd name="T5" fmla="*/ 89 h 275"/>
                <a:gd name="T6" fmla="*/ 84 w 184"/>
                <a:gd name="T7" fmla="*/ 17 h 275"/>
                <a:gd name="T8" fmla="*/ 53 w 184"/>
                <a:gd name="T9" fmla="*/ 28 h 275"/>
                <a:gd name="T10" fmla="*/ 41 w 184"/>
                <a:gd name="T11" fmla="*/ 57 h 275"/>
                <a:gd name="T12" fmla="*/ 58 w 184"/>
                <a:gd name="T13" fmla="*/ 88 h 275"/>
                <a:gd name="T14" fmla="*/ 88 w 184"/>
                <a:gd name="T15" fmla="*/ 101 h 275"/>
                <a:gd name="T16" fmla="*/ 152 w 184"/>
                <a:gd name="T17" fmla="*/ 128 h 275"/>
                <a:gd name="T18" fmla="*/ 184 w 184"/>
                <a:gd name="T19" fmla="*/ 191 h 275"/>
                <a:gd name="T20" fmla="*/ 156 w 184"/>
                <a:gd name="T21" fmla="*/ 255 h 275"/>
                <a:gd name="T22" fmla="*/ 98 w 184"/>
                <a:gd name="T23" fmla="*/ 275 h 275"/>
                <a:gd name="T24" fmla="*/ 59 w 184"/>
                <a:gd name="T25" fmla="*/ 268 h 275"/>
                <a:gd name="T26" fmla="*/ 33 w 184"/>
                <a:gd name="T27" fmla="*/ 254 h 275"/>
                <a:gd name="T28" fmla="*/ 26 w 184"/>
                <a:gd name="T29" fmla="*/ 252 h 275"/>
                <a:gd name="T30" fmla="*/ 16 w 184"/>
                <a:gd name="T31" fmla="*/ 270 h 275"/>
                <a:gd name="T32" fmla="*/ 0 w 184"/>
                <a:gd name="T33" fmla="*/ 270 h 275"/>
                <a:gd name="T34" fmla="*/ 0 w 184"/>
                <a:gd name="T35" fmla="*/ 172 h 275"/>
                <a:gd name="T36" fmla="*/ 16 w 184"/>
                <a:gd name="T37" fmla="*/ 172 h 275"/>
                <a:gd name="T38" fmla="*/ 37 w 184"/>
                <a:gd name="T39" fmla="*/ 224 h 275"/>
                <a:gd name="T40" fmla="*/ 63 w 184"/>
                <a:gd name="T41" fmla="*/ 248 h 275"/>
                <a:gd name="T42" fmla="*/ 97 w 184"/>
                <a:gd name="T43" fmla="*/ 257 h 275"/>
                <a:gd name="T44" fmla="*/ 131 w 184"/>
                <a:gd name="T45" fmla="*/ 242 h 275"/>
                <a:gd name="T46" fmla="*/ 144 w 184"/>
                <a:gd name="T47" fmla="*/ 210 h 275"/>
                <a:gd name="T48" fmla="*/ 120 w 184"/>
                <a:gd name="T49" fmla="*/ 170 h 275"/>
                <a:gd name="T50" fmla="*/ 69 w 184"/>
                <a:gd name="T51" fmla="*/ 149 h 275"/>
                <a:gd name="T52" fmla="*/ 28 w 184"/>
                <a:gd name="T53" fmla="*/ 128 h 275"/>
                <a:gd name="T54" fmla="*/ 2 w 184"/>
                <a:gd name="T55" fmla="*/ 72 h 275"/>
                <a:gd name="T56" fmla="*/ 26 w 184"/>
                <a:gd name="T57" fmla="*/ 19 h 275"/>
                <a:gd name="T58" fmla="*/ 80 w 184"/>
                <a:gd name="T59" fmla="*/ 0 h 275"/>
                <a:gd name="T60" fmla="*/ 134 w 184"/>
                <a:gd name="T61" fmla="*/ 16 h 275"/>
                <a:gd name="T62" fmla="*/ 142 w 184"/>
                <a:gd name="T63" fmla="*/ 19 h 275"/>
                <a:gd name="T64" fmla="*/ 151 w 184"/>
                <a:gd name="T65" fmla="*/ 6 h 275"/>
                <a:gd name="T66" fmla="*/ 168 w 184"/>
                <a:gd name="T67" fmla="*/ 6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84" h="275">
                  <a:moveTo>
                    <a:pt x="168" y="6"/>
                  </a:moveTo>
                  <a:cubicBezTo>
                    <a:pt x="168" y="89"/>
                    <a:pt x="168" y="89"/>
                    <a:pt x="168" y="89"/>
                  </a:cubicBezTo>
                  <a:cubicBezTo>
                    <a:pt x="151" y="89"/>
                    <a:pt x="151" y="89"/>
                    <a:pt x="151" y="89"/>
                  </a:cubicBezTo>
                  <a:cubicBezTo>
                    <a:pt x="141" y="41"/>
                    <a:pt x="119" y="17"/>
                    <a:pt x="84" y="17"/>
                  </a:cubicBezTo>
                  <a:cubicBezTo>
                    <a:pt x="71" y="17"/>
                    <a:pt x="61" y="21"/>
                    <a:pt x="53" y="28"/>
                  </a:cubicBezTo>
                  <a:cubicBezTo>
                    <a:pt x="45" y="36"/>
                    <a:pt x="41" y="46"/>
                    <a:pt x="41" y="57"/>
                  </a:cubicBezTo>
                  <a:cubicBezTo>
                    <a:pt x="41" y="70"/>
                    <a:pt x="46" y="80"/>
                    <a:pt x="58" y="88"/>
                  </a:cubicBezTo>
                  <a:cubicBezTo>
                    <a:pt x="63" y="92"/>
                    <a:pt x="74" y="96"/>
                    <a:pt x="88" y="101"/>
                  </a:cubicBezTo>
                  <a:cubicBezTo>
                    <a:pt x="120" y="111"/>
                    <a:pt x="142" y="120"/>
                    <a:pt x="152" y="128"/>
                  </a:cubicBezTo>
                  <a:cubicBezTo>
                    <a:pt x="173" y="144"/>
                    <a:pt x="184" y="165"/>
                    <a:pt x="184" y="191"/>
                  </a:cubicBezTo>
                  <a:cubicBezTo>
                    <a:pt x="184" y="217"/>
                    <a:pt x="175" y="238"/>
                    <a:pt x="156" y="255"/>
                  </a:cubicBezTo>
                  <a:cubicBezTo>
                    <a:pt x="141" y="269"/>
                    <a:pt x="121" y="275"/>
                    <a:pt x="98" y="275"/>
                  </a:cubicBezTo>
                  <a:cubicBezTo>
                    <a:pt x="84" y="275"/>
                    <a:pt x="71" y="273"/>
                    <a:pt x="59" y="268"/>
                  </a:cubicBezTo>
                  <a:cubicBezTo>
                    <a:pt x="55" y="266"/>
                    <a:pt x="46" y="262"/>
                    <a:pt x="33" y="254"/>
                  </a:cubicBezTo>
                  <a:cubicBezTo>
                    <a:pt x="31" y="253"/>
                    <a:pt x="28" y="252"/>
                    <a:pt x="26" y="252"/>
                  </a:cubicBezTo>
                  <a:cubicBezTo>
                    <a:pt x="23" y="252"/>
                    <a:pt x="19" y="258"/>
                    <a:pt x="16" y="270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172"/>
                    <a:pt x="0" y="172"/>
                    <a:pt x="0" y="172"/>
                  </a:cubicBezTo>
                  <a:cubicBezTo>
                    <a:pt x="16" y="172"/>
                    <a:pt x="16" y="172"/>
                    <a:pt x="16" y="172"/>
                  </a:cubicBezTo>
                  <a:cubicBezTo>
                    <a:pt x="22" y="196"/>
                    <a:pt x="29" y="214"/>
                    <a:pt x="37" y="224"/>
                  </a:cubicBezTo>
                  <a:cubicBezTo>
                    <a:pt x="44" y="234"/>
                    <a:pt x="52" y="242"/>
                    <a:pt x="63" y="248"/>
                  </a:cubicBezTo>
                  <a:cubicBezTo>
                    <a:pt x="74" y="254"/>
                    <a:pt x="85" y="257"/>
                    <a:pt x="97" y="257"/>
                  </a:cubicBezTo>
                  <a:cubicBezTo>
                    <a:pt x="112" y="257"/>
                    <a:pt x="123" y="252"/>
                    <a:pt x="131" y="242"/>
                  </a:cubicBezTo>
                  <a:cubicBezTo>
                    <a:pt x="139" y="233"/>
                    <a:pt x="144" y="222"/>
                    <a:pt x="144" y="210"/>
                  </a:cubicBezTo>
                  <a:cubicBezTo>
                    <a:pt x="144" y="193"/>
                    <a:pt x="136" y="179"/>
                    <a:pt x="120" y="170"/>
                  </a:cubicBezTo>
                  <a:cubicBezTo>
                    <a:pt x="112" y="164"/>
                    <a:pt x="95" y="158"/>
                    <a:pt x="69" y="149"/>
                  </a:cubicBezTo>
                  <a:cubicBezTo>
                    <a:pt x="52" y="144"/>
                    <a:pt x="39" y="137"/>
                    <a:pt x="28" y="128"/>
                  </a:cubicBezTo>
                  <a:cubicBezTo>
                    <a:pt x="11" y="115"/>
                    <a:pt x="2" y="97"/>
                    <a:pt x="2" y="72"/>
                  </a:cubicBezTo>
                  <a:cubicBezTo>
                    <a:pt x="2" y="50"/>
                    <a:pt x="10" y="32"/>
                    <a:pt x="26" y="19"/>
                  </a:cubicBezTo>
                  <a:cubicBezTo>
                    <a:pt x="40" y="6"/>
                    <a:pt x="58" y="0"/>
                    <a:pt x="80" y="0"/>
                  </a:cubicBezTo>
                  <a:cubicBezTo>
                    <a:pt x="99" y="0"/>
                    <a:pt x="117" y="5"/>
                    <a:pt x="134" y="16"/>
                  </a:cubicBezTo>
                  <a:cubicBezTo>
                    <a:pt x="138" y="18"/>
                    <a:pt x="140" y="19"/>
                    <a:pt x="142" y="19"/>
                  </a:cubicBezTo>
                  <a:cubicBezTo>
                    <a:pt x="146" y="19"/>
                    <a:pt x="149" y="14"/>
                    <a:pt x="151" y="6"/>
                  </a:cubicBezTo>
                  <a:lnTo>
                    <a:pt x="168" y="6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" name="Freeform 17"/>
            <p:cNvSpPr>
              <a:spLocks/>
            </p:cNvSpPr>
            <p:nvPr userDrawn="1"/>
          </p:nvSpPr>
          <p:spPr bwMode="auto">
            <a:xfrm>
              <a:off x="1766" y="4414"/>
              <a:ext cx="46" cy="46"/>
            </a:xfrm>
            <a:custGeom>
              <a:avLst/>
              <a:gdLst>
                <a:gd name="T0" fmla="*/ 0 w 46"/>
                <a:gd name="T1" fmla="*/ 46 h 46"/>
                <a:gd name="T2" fmla="*/ 0 w 46"/>
                <a:gd name="T3" fmla="*/ 0 h 46"/>
                <a:gd name="T4" fmla="*/ 25 w 46"/>
                <a:gd name="T5" fmla="*/ 0 h 46"/>
                <a:gd name="T6" fmla="*/ 46 w 46"/>
                <a:gd name="T7" fmla="*/ 0 h 46"/>
                <a:gd name="T8" fmla="*/ 46 w 46"/>
                <a:gd name="T9" fmla="*/ 46 h 46"/>
                <a:gd name="T10" fmla="*/ 0 w 46"/>
                <a:gd name="T11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" h="46">
                  <a:moveTo>
                    <a:pt x="0" y="46"/>
                  </a:moveTo>
                  <a:lnTo>
                    <a:pt x="0" y="0"/>
                  </a:lnTo>
                  <a:lnTo>
                    <a:pt x="25" y="0"/>
                  </a:lnTo>
                  <a:lnTo>
                    <a:pt x="46" y="0"/>
                  </a:lnTo>
                  <a:lnTo>
                    <a:pt x="46" y="46"/>
                  </a:lnTo>
                  <a:lnTo>
                    <a:pt x="0" y="46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90" r:id="rId1"/>
    <p:sldLayoutId id="2147483989" r:id="rId2"/>
    <p:sldLayoutId id="2147483981" r:id="rId3"/>
    <p:sldLayoutId id="2147483982" r:id="rId4"/>
    <p:sldLayoutId id="2147483983" r:id="rId5"/>
    <p:sldLayoutId id="2147483984" r:id="rId6"/>
    <p:sldLayoutId id="2147483985" r:id="rId7"/>
    <p:sldLayoutId id="2147483986" r:id="rId8"/>
    <p:sldLayoutId id="2147483987" r:id="rId9"/>
    <p:sldLayoutId id="2147483988" r:id="rId10"/>
    <p:sldLayoutId id="2147483972" r:id="rId11"/>
    <p:sldLayoutId id="2147483971" r:id="rId12"/>
    <p:sldLayoutId id="2147483973" r:id="rId13"/>
    <p:sldLayoutId id="2147483716" r:id="rId14"/>
    <p:sldLayoutId id="2147483991" r:id="rId15"/>
    <p:sldLayoutId id="2147483722" r:id="rId16"/>
    <p:sldLayoutId id="2147483723" r:id="rId17"/>
    <p:sldLayoutId id="2147483969" r:id="rId18"/>
    <p:sldLayoutId id="2147483970" r:id="rId19"/>
    <p:sldLayoutId id="2147483992" r:id="rId20"/>
    <p:sldLayoutId id="2147483993" r:id="rId21"/>
    <p:sldLayoutId id="2147483930" r:id="rId22"/>
    <p:sldLayoutId id="2147483959" r:id="rId23"/>
    <p:sldLayoutId id="2147483960" r:id="rId24"/>
    <p:sldLayoutId id="2147483994" r:id="rId25"/>
    <p:sldLayoutId id="2147483995" r:id="rId2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dt="0"/>
  <p:txStyles>
    <p:titleStyle>
      <a:lvl1pPr marL="0" indent="0" algn="l" defTabSz="457322" rtl="0" eaLnBrk="1" fontAlgn="base" hangingPunct="1">
        <a:lnSpc>
          <a:spcPct val="90000"/>
        </a:lnSpc>
        <a:spcBef>
          <a:spcPts val="0"/>
        </a:spcBef>
        <a:spcAft>
          <a:spcPct val="0"/>
        </a:spcAft>
        <a:defRPr lang="de-DE" sz="3200" kern="1200" dirty="0">
          <a:solidFill>
            <a:schemeClr val="tx2"/>
          </a:solidFill>
          <a:latin typeface="TeleGrotesk Headline Ultra" pitchFamily="2" charset="0"/>
          <a:ea typeface="+mj-ea"/>
          <a:cs typeface="TeleGrotesk Headline Ultra" pitchFamily="2" charset="0"/>
        </a:defRPr>
      </a:lvl1pPr>
      <a:lvl2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2pPr>
      <a:lvl3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3pPr>
      <a:lvl4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4pPr>
      <a:lvl5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5pPr>
      <a:lvl6pPr marL="457171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6pPr>
      <a:lvl7pPr marL="914342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7pPr>
      <a:lvl8pPr marL="1371513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8pPr>
      <a:lvl9pPr marL="1828683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9pPr>
    </p:titleStyle>
    <p:bodyStyle>
      <a:lvl1pPr algn="l" defTabSz="576226" rtl="0" eaLnBrk="1" fontAlgn="base" hangingPunct="1">
        <a:lnSpc>
          <a:spcPct val="104000"/>
        </a:lnSpc>
        <a:spcBef>
          <a:spcPts val="1200"/>
        </a:spcBef>
        <a:spcAft>
          <a:spcPct val="0"/>
        </a:spcAft>
        <a:buClr>
          <a:schemeClr val="tx2"/>
        </a:buClr>
        <a:buFont typeface="Wingdings" pitchFamily="2" charset="2"/>
        <a:defRPr sz="1800" kern="1200">
          <a:solidFill>
            <a:schemeClr val="tx1"/>
          </a:solidFill>
          <a:latin typeface="Tele-GroteskFet" pitchFamily="2" charset="0"/>
          <a:ea typeface="+mn-ea"/>
          <a:cs typeface="+mn-cs"/>
        </a:defRPr>
      </a:lvl1pPr>
      <a:lvl2pPr marL="1588" algn="l" defTabSz="576226" rtl="0" eaLnBrk="1" fontAlgn="base" hangingPunct="1">
        <a:lnSpc>
          <a:spcPct val="104000"/>
        </a:lnSpc>
        <a:spcBef>
          <a:spcPts val="300"/>
        </a:spcBef>
        <a:spcAft>
          <a:spcPct val="0"/>
        </a:spcAft>
        <a:buClr>
          <a:schemeClr val="tx2"/>
        </a:buClr>
        <a:buFont typeface="Wingdings" pitchFamily="2" charset="2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576226" rtl="0" eaLnBrk="1" fontAlgn="base" hangingPunct="1">
        <a:lnSpc>
          <a:spcPct val="104000"/>
        </a:lnSpc>
        <a:spcBef>
          <a:spcPts val="30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15886" algn="l" defTabSz="576226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648000" indent="-216000" algn="l" defTabSz="576226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40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09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0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1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3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4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2382" userDrawn="1">
          <p15:clr>
            <a:srgbClr val="F26B43"/>
          </p15:clr>
        </p15:guide>
        <p15:guide id="2" pos="3220" userDrawn="1">
          <p15:clr>
            <a:srgbClr val="F26B43"/>
          </p15:clr>
        </p15:guide>
        <p15:guide id="3" orient="horz" pos="1021" userDrawn="1">
          <p15:clr>
            <a:srgbClr val="F26B43"/>
          </p15:clr>
        </p15:guide>
        <p15:guide id="5" orient="horz" pos="4082" userDrawn="1">
          <p15:clr>
            <a:srgbClr val="F26B43"/>
          </p15:clr>
        </p15:guide>
        <p15:guide id="6" pos="227" userDrawn="1">
          <p15:clr>
            <a:srgbClr val="F26B43"/>
          </p15:clr>
        </p15:guide>
        <p15:guide id="7" pos="6123" userDrawn="1">
          <p15:clr>
            <a:srgbClr val="F26B43"/>
          </p15:clr>
        </p15:guide>
        <p15:guide id="8" orient="horz" pos="3856" userDrawn="1">
          <p15:clr>
            <a:srgbClr val="F26B43"/>
          </p15:clr>
        </p15:guide>
        <p15:guide id="10" orient="horz" pos="749" userDrawn="1">
          <p15:clr>
            <a:srgbClr val="F26B43"/>
          </p15:clr>
        </p15:guide>
        <p15:guide id="11" orient="horz" pos="227" userDrawn="1">
          <p15:clr>
            <a:srgbClr val="F26B43"/>
          </p15:clr>
        </p15:guide>
        <p15:guide id="12" pos="1724" userDrawn="1">
          <p15:clr>
            <a:srgbClr val="F26B43"/>
          </p15:clr>
        </p15:guide>
        <p15:guide id="13" pos="1633" userDrawn="1">
          <p15:clr>
            <a:srgbClr val="F26B43"/>
          </p15:clr>
        </p15:guide>
        <p15:guide id="14" pos="3175" userDrawn="1">
          <p15:clr>
            <a:srgbClr val="F26B43"/>
          </p15:clr>
        </p15:guide>
        <p15:guide id="15" pos="3130" userDrawn="1">
          <p15:clr>
            <a:srgbClr val="F26B43"/>
          </p15:clr>
        </p15:guide>
        <p15:guide id="16" pos="4717" userDrawn="1">
          <p15:clr>
            <a:srgbClr val="F26B43"/>
          </p15:clr>
        </p15:guide>
        <p15:guide id="17" pos="4627" userDrawn="1">
          <p15:clr>
            <a:srgbClr val="F26B43"/>
          </p15:clr>
        </p15:guide>
        <p15:guide id="18" orient="horz" pos="4309" userDrawn="1">
          <p15:clr>
            <a:srgbClr val="F26B43"/>
          </p15:clr>
        </p15:guide>
        <p15:guide id="19" orient="horz" pos="453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5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5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5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5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5.xml"/><Relationship Id="rId7" Type="http://schemas.microsoft.com/office/2007/relationships/diagramDrawing" Target="../diagrams/drawing5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5.xml"/><Relationship Id="rId6" Type="http://schemas.openxmlformats.org/officeDocument/2006/relationships/diagramColors" Target="../diagrams/colors5.xml"/><Relationship Id="rId5" Type="http://schemas.openxmlformats.org/officeDocument/2006/relationships/diagramQuickStyle" Target="../diagrams/quickStyle5.xml"/><Relationship Id="rId4" Type="http://schemas.openxmlformats.org/officeDocument/2006/relationships/diagramLayout" Target="../diagrams/layout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6.xml"/><Relationship Id="rId7" Type="http://schemas.microsoft.com/office/2007/relationships/diagramDrawing" Target="../diagrams/drawing6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5.xml"/><Relationship Id="rId6" Type="http://schemas.openxmlformats.org/officeDocument/2006/relationships/diagramColors" Target="../diagrams/colors6.xml"/><Relationship Id="rId5" Type="http://schemas.openxmlformats.org/officeDocument/2006/relationships/diagramQuickStyle" Target="../diagrams/quickStyle6.xml"/><Relationship Id="rId4" Type="http://schemas.openxmlformats.org/officeDocument/2006/relationships/diagramLayout" Target="../diagrams/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0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6.xml"/></Relationships>
</file>

<file path=ppt/slides/_rels/slide17.xml.rels><?xml version="1.0" encoding="UTF-8" standalone="yes"?>
<Relationships xmlns="http://schemas.openxmlformats.org/package/2006/relationships"><Relationship Id="rId8" Type="http://schemas.microsoft.com/office/2007/relationships/diagramDrawing" Target="../diagrams/drawing7.xml"/><Relationship Id="rId3" Type="http://schemas.openxmlformats.org/officeDocument/2006/relationships/image" Target="../media/image41.png"/><Relationship Id="rId7" Type="http://schemas.openxmlformats.org/officeDocument/2006/relationships/diagramColors" Target="../diagrams/colors7.xm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5.xml"/><Relationship Id="rId6" Type="http://schemas.openxmlformats.org/officeDocument/2006/relationships/diagramQuickStyle" Target="../diagrams/quickStyle7.xml"/><Relationship Id="rId5" Type="http://schemas.openxmlformats.org/officeDocument/2006/relationships/diagramLayout" Target="../diagrams/layout7.xml"/><Relationship Id="rId4" Type="http://schemas.openxmlformats.org/officeDocument/2006/relationships/diagramData" Target="../diagrams/data7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image" Target="../media/image42.jpeg"/><Relationship Id="rId7" Type="http://schemas.openxmlformats.org/officeDocument/2006/relationships/image" Target="../media/image46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45.png"/><Relationship Id="rId5" Type="http://schemas.openxmlformats.org/officeDocument/2006/relationships/image" Target="../media/image44.jpeg"/><Relationship Id="rId4" Type="http://schemas.openxmlformats.org/officeDocument/2006/relationships/image" Target="../media/image43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gif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49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.xml"/><Relationship Id="rId4" Type="http://schemas.microsoft.com/office/2007/relationships/hdphoto" Target="../media/hdphoto1.wdp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51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1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jpe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1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jpe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15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60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5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64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18.png"/><Relationship Id="rId4" Type="http://schemas.microsoft.com/office/2007/relationships/hdphoto" Target="../media/hdphoto1.wdp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7" Type="http://schemas.openxmlformats.org/officeDocument/2006/relationships/image" Target="../media/image2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microsoft.com/office/2007/relationships/hdphoto" Target="../media/hdphoto1.wdp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17.png"/><Relationship Id="rId7" Type="http://schemas.openxmlformats.org/officeDocument/2006/relationships/image" Target="../media/image2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9.png"/><Relationship Id="rId11" Type="http://schemas.openxmlformats.org/officeDocument/2006/relationships/image" Target="../media/image24.png"/><Relationship Id="rId5" Type="http://schemas.openxmlformats.org/officeDocument/2006/relationships/image" Target="../media/image18.png"/><Relationship Id="rId10" Type="http://schemas.openxmlformats.org/officeDocument/2006/relationships/image" Target="../media/image23.png"/><Relationship Id="rId4" Type="http://schemas.microsoft.com/office/2007/relationships/hdphoto" Target="../media/hdphoto1.wdp"/><Relationship Id="rId9" Type="http://schemas.openxmlformats.org/officeDocument/2006/relationships/image" Target="../media/image22.png"/></Relationships>
</file>

<file path=ppt/slides/_rels/slide6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13" Type="http://schemas.openxmlformats.org/officeDocument/2006/relationships/image" Target="../media/image20.png"/><Relationship Id="rId3" Type="http://schemas.openxmlformats.org/officeDocument/2006/relationships/image" Target="../media/image25.png"/><Relationship Id="rId7" Type="http://schemas.openxmlformats.org/officeDocument/2006/relationships/image" Target="../media/image17.png"/><Relationship Id="rId12" Type="http://schemas.openxmlformats.org/officeDocument/2006/relationships/image" Target="../media/image19.png"/><Relationship Id="rId17" Type="http://schemas.openxmlformats.org/officeDocument/2006/relationships/image" Target="../media/image24.png"/><Relationship Id="rId2" Type="http://schemas.openxmlformats.org/officeDocument/2006/relationships/notesSlide" Target="../notesSlides/notesSlide6.xml"/><Relationship Id="rId16" Type="http://schemas.openxmlformats.org/officeDocument/2006/relationships/image" Target="../media/image23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28.png"/><Relationship Id="rId11" Type="http://schemas.openxmlformats.org/officeDocument/2006/relationships/image" Target="../media/image30.png"/><Relationship Id="rId5" Type="http://schemas.openxmlformats.org/officeDocument/2006/relationships/image" Target="../media/image27.png"/><Relationship Id="rId15" Type="http://schemas.openxmlformats.org/officeDocument/2006/relationships/image" Target="../media/image22.png"/><Relationship Id="rId10" Type="http://schemas.openxmlformats.org/officeDocument/2006/relationships/image" Target="../media/image29.png"/><Relationship Id="rId4" Type="http://schemas.openxmlformats.org/officeDocument/2006/relationships/image" Target="../media/image26.png"/><Relationship Id="rId9" Type="http://schemas.openxmlformats.org/officeDocument/2006/relationships/image" Target="../media/image18.png"/><Relationship Id="rId14" Type="http://schemas.openxmlformats.org/officeDocument/2006/relationships/image" Target="../media/image2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image" Target="../media/image34.png"/><Relationship Id="rId7" Type="http://schemas.openxmlformats.org/officeDocument/2006/relationships/image" Target="../media/image3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37.png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ctrTitle"/>
          </p:nvPr>
        </p:nvSpPr>
        <p:spPr>
          <a:xfrm>
            <a:off x="361950" y="3734323"/>
            <a:ext cx="7980841" cy="1107996"/>
          </a:xfrm>
        </p:spPr>
        <p:txBody>
          <a:bodyPr/>
          <a:lstStyle/>
          <a:p>
            <a:r>
              <a:rPr lang="hu-HU" dirty="0" smtClean="0"/>
              <a:t>Project management </a:t>
            </a:r>
            <a:r>
              <a:rPr lang="hu-HU" smtClean="0"/>
              <a:t/>
            </a:r>
            <a:br>
              <a:rPr lang="hu-HU" smtClean="0"/>
            </a:br>
            <a:r>
              <a:rPr lang="hu-HU" smtClean="0"/>
              <a:t>Pmo – the basics</a:t>
            </a:r>
            <a:endParaRPr lang="en-US" dirty="0"/>
          </a:p>
        </p:txBody>
      </p:sp>
      <p:sp>
        <p:nvSpPr>
          <p:cNvPr id="5" name="Untertitel 4"/>
          <p:cNvSpPr>
            <a:spLocks noGrp="1"/>
          </p:cNvSpPr>
          <p:nvPr>
            <p:ph type="subTitle" idx="1"/>
          </p:nvPr>
        </p:nvSpPr>
        <p:spPr>
          <a:xfrm>
            <a:off x="361950" y="5597235"/>
            <a:ext cx="7980841" cy="768159"/>
          </a:xfrm>
        </p:spPr>
        <p:txBody>
          <a:bodyPr/>
          <a:lstStyle/>
          <a:p>
            <a:r>
              <a:rPr lang="hu-HU" smtClean="0"/>
              <a:t>Éva Németh</a:t>
            </a:r>
          </a:p>
          <a:p>
            <a:r>
              <a:rPr lang="hu-HU" smtClean="0"/>
              <a:t>Nóra Kollárik</a:t>
            </a:r>
          </a:p>
        </p:txBody>
      </p:sp>
    </p:spTree>
    <p:extLst>
      <p:ext uri="{BB962C8B-B14F-4D97-AF65-F5344CB8AC3E}">
        <p14:creationId xmlns:p14="http://schemas.microsoft.com/office/powerpoint/2010/main" val="2971717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185B2FC-D18E-4EA2-A103-6DCF88856111}" type="slidenum">
              <a:rPr lang="en-US" noProof="0" smtClean="0"/>
              <a:pPr/>
              <a:t>10</a:t>
            </a:fld>
            <a:endParaRPr lang="en-US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PTE MIK PM1 2018/19-1        -        PMO Basics</a:t>
            </a:r>
            <a:endParaRPr lang="en-US" noProof="0" dirty="0" smtClean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PMO maturity</a:t>
            </a:r>
            <a:endParaRPr lang="en-US"/>
          </a:p>
        </p:txBody>
      </p:sp>
      <p:graphicFrame>
        <p:nvGraphicFramePr>
          <p:cNvPr id="17" name="Diagram 16"/>
          <p:cNvGraphicFramePr/>
          <p:nvPr>
            <p:extLst>
              <p:ext uri="{D42A27DB-BD31-4B8C-83A1-F6EECF244321}">
                <p14:modId xmlns:p14="http://schemas.microsoft.com/office/powerpoint/2010/main" val="2146757314"/>
              </p:ext>
            </p:extLst>
          </p:nvPr>
        </p:nvGraphicFramePr>
        <p:xfrm>
          <a:off x="1070005" y="701396"/>
          <a:ext cx="8550419" cy="50109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8" name="Oval 17"/>
          <p:cNvSpPr/>
          <p:nvPr/>
        </p:nvSpPr>
        <p:spPr>
          <a:xfrm>
            <a:off x="1300098" y="5588589"/>
            <a:ext cx="164874" cy="164874"/>
          </a:xfrm>
          <a:prstGeom prst="ellipse">
            <a:avLst/>
          </a:pr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9" name="TextBox 18"/>
          <p:cNvSpPr txBox="1"/>
          <p:nvPr/>
        </p:nvSpPr>
        <p:spPr bwMode="gray">
          <a:xfrm>
            <a:off x="889792" y="5753463"/>
            <a:ext cx="1885682" cy="42855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hu-HU" sz="2200" smtClean="0">
                <a:latin typeface="+mj-lt"/>
              </a:rPr>
              <a:t>Absent</a:t>
            </a:r>
          </a:p>
        </p:txBody>
      </p:sp>
    </p:spTree>
    <p:extLst>
      <p:ext uri="{BB962C8B-B14F-4D97-AF65-F5344CB8AC3E}">
        <p14:creationId xmlns:p14="http://schemas.microsoft.com/office/powerpoint/2010/main" val="19678723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185B2FC-D18E-4EA2-A103-6DCF88856111}" type="slidenum">
              <a:rPr lang="en-US" noProof="0" smtClean="0"/>
              <a:pPr/>
              <a:t>11</a:t>
            </a:fld>
            <a:endParaRPr lang="en-US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PTE MIK PM1 2018/19-1        -        PMO Basics</a:t>
            </a:r>
            <a:endParaRPr lang="en-US" noProof="0" dirty="0" smtClean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PMO maturity</a:t>
            </a:r>
            <a:endParaRPr lang="en-US"/>
          </a:p>
        </p:txBody>
      </p:sp>
      <p:graphicFrame>
        <p:nvGraphicFramePr>
          <p:cNvPr id="17" name="Diagram 16"/>
          <p:cNvGraphicFramePr/>
          <p:nvPr>
            <p:extLst>
              <p:ext uri="{D42A27DB-BD31-4B8C-83A1-F6EECF244321}">
                <p14:modId xmlns:p14="http://schemas.microsoft.com/office/powerpoint/2010/main" val="2655468992"/>
              </p:ext>
            </p:extLst>
          </p:nvPr>
        </p:nvGraphicFramePr>
        <p:xfrm>
          <a:off x="1070005" y="701396"/>
          <a:ext cx="8550419" cy="50109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8" name="Oval 17"/>
          <p:cNvSpPr/>
          <p:nvPr/>
        </p:nvSpPr>
        <p:spPr>
          <a:xfrm>
            <a:off x="1300098" y="5588589"/>
            <a:ext cx="164874" cy="164874"/>
          </a:xfrm>
          <a:prstGeom prst="ellipse">
            <a:avLst/>
          </a:pr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9" name="TextBox 18"/>
          <p:cNvSpPr txBox="1"/>
          <p:nvPr/>
        </p:nvSpPr>
        <p:spPr bwMode="gray">
          <a:xfrm>
            <a:off x="889792" y="5753463"/>
            <a:ext cx="1885682" cy="42855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hu-HU" sz="2200" smtClean="0">
                <a:latin typeface="+mj-lt"/>
              </a:rPr>
              <a:t>Absent</a:t>
            </a:r>
          </a:p>
        </p:txBody>
      </p:sp>
    </p:spTree>
    <p:extLst>
      <p:ext uri="{BB962C8B-B14F-4D97-AF65-F5344CB8AC3E}">
        <p14:creationId xmlns:p14="http://schemas.microsoft.com/office/powerpoint/2010/main" val="17509508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185B2FC-D18E-4EA2-A103-6DCF88856111}" type="slidenum">
              <a:rPr lang="en-US" noProof="0" smtClean="0"/>
              <a:pPr/>
              <a:t>12</a:t>
            </a:fld>
            <a:endParaRPr lang="en-US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PTE MIK PM1 2018/19-1        -        PMO Basics</a:t>
            </a:r>
            <a:endParaRPr lang="en-US" noProof="0" dirty="0" smtClean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PMO maturity</a:t>
            </a:r>
            <a:endParaRPr lang="en-US"/>
          </a:p>
        </p:txBody>
      </p:sp>
      <p:graphicFrame>
        <p:nvGraphicFramePr>
          <p:cNvPr id="17" name="Diagram 16"/>
          <p:cNvGraphicFramePr/>
          <p:nvPr>
            <p:extLst>
              <p:ext uri="{D42A27DB-BD31-4B8C-83A1-F6EECF244321}">
                <p14:modId xmlns:p14="http://schemas.microsoft.com/office/powerpoint/2010/main" val="2349838234"/>
              </p:ext>
            </p:extLst>
          </p:nvPr>
        </p:nvGraphicFramePr>
        <p:xfrm>
          <a:off x="1070005" y="701396"/>
          <a:ext cx="8550419" cy="50109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8" name="Oval 17"/>
          <p:cNvSpPr/>
          <p:nvPr/>
        </p:nvSpPr>
        <p:spPr>
          <a:xfrm>
            <a:off x="1300098" y="5588589"/>
            <a:ext cx="164874" cy="164874"/>
          </a:xfrm>
          <a:prstGeom prst="ellipse">
            <a:avLst/>
          </a:pr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9" name="TextBox 18"/>
          <p:cNvSpPr txBox="1"/>
          <p:nvPr/>
        </p:nvSpPr>
        <p:spPr bwMode="gray">
          <a:xfrm>
            <a:off x="889792" y="5753463"/>
            <a:ext cx="1885682" cy="42855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hu-HU" sz="2200" smtClean="0">
                <a:latin typeface="+mj-lt"/>
              </a:rPr>
              <a:t>Absent</a:t>
            </a:r>
          </a:p>
        </p:txBody>
      </p:sp>
    </p:spTree>
    <p:extLst>
      <p:ext uri="{BB962C8B-B14F-4D97-AF65-F5344CB8AC3E}">
        <p14:creationId xmlns:p14="http://schemas.microsoft.com/office/powerpoint/2010/main" val="1685306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185B2FC-D18E-4EA2-A103-6DCF88856111}" type="slidenum">
              <a:rPr lang="en-US" noProof="0" smtClean="0"/>
              <a:pPr/>
              <a:t>13</a:t>
            </a:fld>
            <a:endParaRPr lang="en-US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PTE MIK PM1 2018/19-1        -        PMO Basics</a:t>
            </a:r>
            <a:endParaRPr lang="en-US" noProof="0" dirty="0" smtClean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PMO maturity</a:t>
            </a:r>
            <a:endParaRPr lang="en-US"/>
          </a:p>
        </p:txBody>
      </p:sp>
      <p:graphicFrame>
        <p:nvGraphicFramePr>
          <p:cNvPr id="17" name="Diagram 16"/>
          <p:cNvGraphicFramePr/>
          <p:nvPr>
            <p:extLst>
              <p:ext uri="{D42A27DB-BD31-4B8C-83A1-F6EECF244321}">
                <p14:modId xmlns:p14="http://schemas.microsoft.com/office/powerpoint/2010/main" val="1118232010"/>
              </p:ext>
            </p:extLst>
          </p:nvPr>
        </p:nvGraphicFramePr>
        <p:xfrm>
          <a:off x="1070005" y="701396"/>
          <a:ext cx="8550419" cy="50109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8" name="Oval 17"/>
          <p:cNvSpPr/>
          <p:nvPr/>
        </p:nvSpPr>
        <p:spPr>
          <a:xfrm>
            <a:off x="1300098" y="5588589"/>
            <a:ext cx="164874" cy="164874"/>
          </a:xfrm>
          <a:prstGeom prst="ellipse">
            <a:avLst/>
          </a:pr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9" name="TextBox 18"/>
          <p:cNvSpPr txBox="1"/>
          <p:nvPr/>
        </p:nvSpPr>
        <p:spPr bwMode="gray">
          <a:xfrm>
            <a:off x="889792" y="5753463"/>
            <a:ext cx="1885682" cy="42855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hu-HU" sz="2200" smtClean="0">
                <a:latin typeface="+mj-lt"/>
              </a:rPr>
              <a:t>Absent</a:t>
            </a:r>
          </a:p>
        </p:txBody>
      </p:sp>
    </p:spTree>
    <p:extLst>
      <p:ext uri="{BB962C8B-B14F-4D97-AF65-F5344CB8AC3E}">
        <p14:creationId xmlns:p14="http://schemas.microsoft.com/office/powerpoint/2010/main" val="2739841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185B2FC-D18E-4EA2-A103-6DCF88856111}" type="slidenum">
              <a:rPr lang="en-US" noProof="0" smtClean="0"/>
              <a:pPr/>
              <a:t>14</a:t>
            </a:fld>
            <a:endParaRPr lang="en-US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PTE MIK PM1 2018/19-1        -        PMO Basics</a:t>
            </a:r>
            <a:endParaRPr lang="en-US" noProof="0" dirty="0" smtClean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PMO maturity</a:t>
            </a:r>
            <a:endParaRPr lang="en-US"/>
          </a:p>
        </p:txBody>
      </p:sp>
      <p:graphicFrame>
        <p:nvGraphicFramePr>
          <p:cNvPr id="17" name="Diagram 16"/>
          <p:cNvGraphicFramePr/>
          <p:nvPr>
            <p:extLst>
              <p:ext uri="{D42A27DB-BD31-4B8C-83A1-F6EECF244321}">
                <p14:modId xmlns:p14="http://schemas.microsoft.com/office/powerpoint/2010/main" val="419494026"/>
              </p:ext>
            </p:extLst>
          </p:nvPr>
        </p:nvGraphicFramePr>
        <p:xfrm>
          <a:off x="1070005" y="701396"/>
          <a:ext cx="8550419" cy="50109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8" name="Oval 17"/>
          <p:cNvSpPr/>
          <p:nvPr/>
        </p:nvSpPr>
        <p:spPr>
          <a:xfrm>
            <a:off x="1300098" y="5588589"/>
            <a:ext cx="164874" cy="164874"/>
          </a:xfrm>
          <a:prstGeom prst="ellipse">
            <a:avLst/>
          </a:pr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9" name="TextBox 18"/>
          <p:cNvSpPr txBox="1"/>
          <p:nvPr/>
        </p:nvSpPr>
        <p:spPr bwMode="gray">
          <a:xfrm>
            <a:off x="889792" y="5753463"/>
            <a:ext cx="1885682" cy="42855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hu-HU" sz="2200" smtClean="0">
                <a:latin typeface="+mj-lt"/>
              </a:rPr>
              <a:t>Absent</a:t>
            </a:r>
          </a:p>
        </p:txBody>
      </p:sp>
    </p:spTree>
    <p:extLst>
      <p:ext uri="{BB962C8B-B14F-4D97-AF65-F5344CB8AC3E}">
        <p14:creationId xmlns:p14="http://schemas.microsoft.com/office/powerpoint/2010/main" val="41500326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185B2FC-D18E-4EA2-A103-6DCF88856111}" type="slidenum">
              <a:rPr lang="en-US" noProof="0" smtClean="0"/>
              <a:pPr/>
              <a:t>15</a:t>
            </a:fld>
            <a:endParaRPr lang="en-US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PTE MIK PM1 2018/19-1        -        PMO Basics</a:t>
            </a:r>
            <a:endParaRPr lang="en-US" noProof="0" dirty="0" smtClean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PMO maturity</a:t>
            </a:r>
            <a:endParaRPr lang="en-US"/>
          </a:p>
        </p:txBody>
      </p:sp>
      <p:graphicFrame>
        <p:nvGraphicFramePr>
          <p:cNvPr id="17" name="Diagram 16"/>
          <p:cNvGraphicFramePr/>
          <p:nvPr>
            <p:extLst>
              <p:ext uri="{D42A27DB-BD31-4B8C-83A1-F6EECF244321}">
                <p14:modId xmlns:p14="http://schemas.microsoft.com/office/powerpoint/2010/main" val="3388993267"/>
              </p:ext>
            </p:extLst>
          </p:nvPr>
        </p:nvGraphicFramePr>
        <p:xfrm>
          <a:off x="1070005" y="701396"/>
          <a:ext cx="8550419" cy="50109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8" name="Oval 17"/>
          <p:cNvSpPr/>
          <p:nvPr/>
        </p:nvSpPr>
        <p:spPr>
          <a:xfrm>
            <a:off x="1300098" y="5588589"/>
            <a:ext cx="164874" cy="164874"/>
          </a:xfrm>
          <a:prstGeom prst="ellipse">
            <a:avLst/>
          </a:pr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9" name="TextBox 18"/>
          <p:cNvSpPr txBox="1"/>
          <p:nvPr/>
        </p:nvSpPr>
        <p:spPr bwMode="gray">
          <a:xfrm>
            <a:off x="889792" y="5753463"/>
            <a:ext cx="1885682" cy="42855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hu-HU" sz="2200" smtClean="0">
                <a:latin typeface="+mj-lt"/>
              </a:rPr>
              <a:t>Absent</a:t>
            </a:r>
          </a:p>
        </p:txBody>
      </p:sp>
    </p:spTree>
    <p:extLst>
      <p:ext uri="{BB962C8B-B14F-4D97-AF65-F5344CB8AC3E}">
        <p14:creationId xmlns:p14="http://schemas.microsoft.com/office/powerpoint/2010/main" val="3658181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0" name="Objekt 5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50" y="1751"/>
          <a:ext cx="1750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60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0" y="1751"/>
                        <a:ext cx="1750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9" name="Rechteck 58"/>
          <p:cNvSpPr/>
          <p:nvPr/>
        </p:nvSpPr>
        <p:spPr>
          <a:xfrm>
            <a:off x="2758828" y="1869635"/>
            <a:ext cx="2483405" cy="4475105"/>
          </a:xfrm>
          <a:prstGeom prst="rect">
            <a:avLst/>
          </a:prstGeom>
          <a:solidFill>
            <a:schemeClr val="tx2">
              <a:alpha val="1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0803" tIns="50402" rIns="100803" bIns="50402"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277284" y="1869635"/>
            <a:ext cx="2483405" cy="4475105"/>
          </a:xfrm>
          <a:prstGeom prst="rect">
            <a:avLst/>
          </a:prstGeom>
          <a:solidFill>
            <a:srgbClr val="427BAB">
              <a:alpha val="15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0803" tIns="50402" rIns="100803" bIns="50402"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36021" y="367562"/>
            <a:ext cx="9366581" cy="916213"/>
          </a:xfrm>
        </p:spPr>
        <p:txBody>
          <a:bodyPr/>
          <a:lstStyle/>
          <a:p>
            <a:r>
              <a:rPr lang="en-US" cap="all"/>
              <a:t>T&amp;T PROJECT Organization</a:t>
            </a:r>
            <a:br>
              <a:rPr lang="en-US" cap="all"/>
            </a:br>
            <a:r>
              <a:rPr lang="hu-HU" cap="all" smtClean="0">
                <a:latin typeface="TeleGrotesk Headline" pitchFamily="2" charset="0"/>
              </a:rPr>
              <a:t>sample </a:t>
            </a:r>
            <a:r>
              <a:rPr lang="hu-HU" cap="all" dirty="0">
                <a:latin typeface="TeleGrotesk Headline" pitchFamily="2" charset="0"/>
              </a:rPr>
              <a:t>– </a:t>
            </a:r>
            <a:r>
              <a:rPr lang="en-US" cap="all" dirty="0" smtClean="0">
                <a:latin typeface="TeleGrotesk Headline" pitchFamily="2" charset="0"/>
              </a:rPr>
              <a:t>Mirrored </a:t>
            </a:r>
            <a:r>
              <a:rPr lang="en-US" cap="all" dirty="0">
                <a:latin typeface="TeleGrotesk Headline" pitchFamily="2" charset="0"/>
              </a:rPr>
              <a:t>Project Organization</a:t>
            </a:r>
            <a:endParaRPr lang="en-US" cap="all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>
          <a:xfrm>
            <a:off x="9415584" y="7091097"/>
            <a:ext cx="318520" cy="152702"/>
          </a:xfrm>
        </p:spPr>
        <p:txBody>
          <a:bodyPr/>
          <a:lstStyle/>
          <a:p>
            <a:fld id="{EF856C3B-4879-44CB-8ACD-F9C43CE31EF6}" type="slidenum">
              <a:rPr lang="en-US" smtClean="0"/>
              <a:pPr/>
              <a:t>16</a:t>
            </a:fld>
            <a:endParaRPr lang="en-US"/>
          </a:p>
        </p:txBody>
      </p:sp>
      <p:sp>
        <p:nvSpPr>
          <p:cNvPr id="5" name="Rectangle 17"/>
          <p:cNvSpPr>
            <a:spLocks noChangeArrowheads="1"/>
          </p:cNvSpPr>
          <p:nvPr/>
        </p:nvSpPr>
        <p:spPr bwMode="gray">
          <a:xfrm>
            <a:off x="1745782" y="3934876"/>
            <a:ext cx="912813" cy="508470"/>
          </a:xfrm>
          <a:prstGeom prst="rect">
            <a:avLst/>
          </a:prstGeom>
          <a:solidFill>
            <a:srgbClr val="003366">
              <a:alpha val="75000"/>
            </a:srgbClr>
          </a:solidFill>
          <a:ln w="57150">
            <a:noFill/>
            <a:miter lim="800000"/>
            <a:headEnd/>
            <a:tailEnd/>
          </a:ln>
          <a:effectLst/>
        </p:spPr>
        <p:txBody>
          <a:bodyPr wrap="none" lIns="100803" tIns="50402" rIns="100803" bIns="50402" anchor="ctr"/>
          <a:lstStyle/>
          <a:p>
            <a:pPr algn="ctr" defTabSz="1008035">
              <a:lnSpc>
                <a:spcPct val="90000"/>
              </a:lnSpc>
              <a:spcBef>
                <a:spcPct val="25000"/>
              </a:spcBef>
            </a:pPr>
            <a:r>
              <a:rPr lang="en-US" sz="150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PMO</a:t>
            </a:r>
          </a:p>
        </p:txBody>
      </p:sp>
      <p:sp>
        <p:nvSpPr>
          <p:cNvPr id="6" name="Rectangle 19"/>
          <p:cNvSpPr>
            <a:spLocks noChangeArrowheads="1"/>
          </p:cNvSpPr>
          <p:nvPr/>
        </p:nvSpPr>
        <p:spPr bwMode="gray">
          <a:xfrm>
            <a:off x="674202" y="3934876"/>
            <a:ext cx="912813" cy="508470"/>
          </a:xfrm>
          <a:prstGeom prst="rect">
            <a:avLst/>
          </a:prstGeom>
          <a:solidFill>
            <a:srgbClr val="003366">
              <a:alpha val="75000"/>
            </a:srgbClr>
          </a:solidFill>
          <a:ln w="57150">
            <a:noFill/>
            <a:miter lim="800000"/>
            <a:headEnd/>
            <a:tailEnd/>
          </a:ln>
          <a:effectLst/>
        </p:spPr>
        <p:txBody>
          <a:bodyPr wrap="none" lIns="100803" tIns="50402" rIns="100803" bIns="50402" anchor="ctr"/>
          <a:lstStyle/>
          <a:p>
            <a:pPr algn="ctr" defTabSz="1008035">
              <a:lnSpc>
                <a:spcPct val="90000"/>
              </a:lnSpc>
              <a:spcBef>
                <a:spcPct val="25000"/>
              </a:spcBef>
            </a:pPr>
            <a:r>
              <a:rPr lang="en-US" sz="150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Cross</a:t>
            </a:r>
            <a:br>
              <a:rPr lang="en-US" sz="150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</a:br>
            <a:r>
              <a:rPr lang="en-US" sz="150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Functions</a:t>
            </a:r>
          </a:p>
        </p:txBody>
      </p:sp>
      <p:sp>
        <p:nvSpPr>
          <p:cNvPr id="7" name="Rectangle 15"/>
          <p:cNvSpPr>
            <a:spLocks noChangeArrowheads="1"/>
          </p:cNvSpPr>
          <p:nvPr/>
        </p:nvSpPr>
        <p:spPr bwMode="gray">
          <a:xfrm>
            <a:off x="3059036" y="3224348"/>
            <a:ext cx="1595274" cy="577761"/>
          </a:xfrm>
          <a:prstGeom prst="rect">
            <a:avLst/>
          </a:prstGeom>
          <a:solidFill>
            <a:schemeClr val="tx2"/>
          </a:solidFill>
          <a:ln w="57150">
            <a:noFill/>
            <a:miter lim="800000"/>
            <a:headEnd/>
            <a:tailEnd/>
          </a:ln>
          <a:effectLst/>
        </p:spPr>
        <p:txBody>
          <a:bodyPr wrap="none" lIns="100803" tIns="50402" rIns="100803" bIns="50402" anchor="ctr"/>
          <a:lstStyle/>
          <a:p>
            <a:pPr algn="ctr" defTabSz="1008035">
              <a:lnSpc>
                <a:spcPct val="90000"/>
              </a:lnSpc>
              <a:spcBef>
                <a:spcPct val="25000"/>
              </a:spcBef>
            </a:pPr>
            <a:r>
              <a:rPr lang="en-US" sz="150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T&amp;T Program</a:t>
            </a:r>
            <a:br>
              <a:rPr lang="en-US" sz="150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</a:br>
            <a:r>
              <a:rPr lang="en-US" sz="150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Management</a:t>
            </a:r>
          </a:p>
        </p:txBody>
      </p:sp>
      <p:sp>
        <p:nvSpPr>
          <p:cNvPr id="8" name="Rectangle 17"/>
          <p:cNvSpPr>
            <a:spLocks noChangeArrowheads="1"/>
          </p:cNvSpPr>
          <p:nvPr/>
        </p:nvSpPr>
        <p:spPr bwMode="gray">
          <a:xfrm>
            <a:off x="2840776" y="3932061"/>
            <a:ext cx="912813" cy="508470"/>
          </a:xfrm>
          <a:prstGeom prst="rect">
            <a:avLst/>
          </a:prstGeom>
          <a:solidFill>
            <a:schemeClr val="tx2">
              <a:alpha val="75000"/>
            </a:schemeClr>
          </a:solidFill>
          <a:ln w="57150">
            <a:noFill/>
            <a:miter lim="800000"/>
            <a:headEnd/>
            <a:tailEnd/>
          </a:ln>
          <a:effectLst/>
        </p:spPr>
        <p:txBody>
          <a:bodyPr wrap="none" lIns="100803" tIns="50402" rIns="100803" bIns="50402" anchor="ctr"/>
          <a:lstStyle/>
          <a:p>
            <a:pPr algn="ctr" defTabSz="1008035">
              <a:lnSpc>
                <a:spcPct val="90000"/>
              </a:lnSpc>
              <a:spcBef>
                <a:spcPct val="25000"/>
              </a:spcBef>
            </a:pPr>
            <a:r>
              <a:rPr lang="en-US" sz="150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PMO</a:t>
            </a:r>
          </a:p>
        </p:txBody>
      </p:sp>
      <p:sp>
        <p:nvSpPr>
          <p:cNvPr id="9" name="Rectangle 19"/>
          <p:cNvSpPr>
            <a:spLocks noChangeArrowheads="1"/>
          </p:cNvSpPr>
          <p:nvPr/>
        </p:nvSpPr>
        <p:spPr bwMode="gray">
          <a:xfrm>
            <a:off x="3962572" y="3932061"/>
            <a:ext cx="912813" cy="508470"/>
          </a:xfrm>
          <a:prstGeom prst="rect">
            <a:avLst/>
          </a:prstGeom>
          <a:solidFill>
            <a:schemeClr val="tx2">
              <a:alpha val="75000"/>
            </a:schemeClr>
          </a:solidFill>
          <a:ln w="57150">
            <a:noFill/>
            <a:miter lim="800000"/>
            <a:headEnd/>
            <a:tailEnd/>
          </a:ln>
          <a:effectLst/>
        </p:spPr>
        <p:txBody>
          <a:bodyPr wrap="none" lIns="100803" tIns="50402" rIns="100803" bIns="50402" anchor="ctr"/>
          <a:lstStyle/>
          <a:p>
            <a:pPr algn="ctr" defTabSz="1008035">
              <a:lnSpc>
                <a:spcPct val="90000"/>
              </a:lnSpc>
              <a:spcBef>
                <a:spcPct val="25000"/>
              </a:spcBef>
            </a:pPr>
            <a:r>
              <a:rPr lang="en-US" sz="150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Cross</a:t>
            </a:r>
            <a:br>
              <a:rPr lang="en-US" sz="150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</a:br>
            <a:r>
              <a:rPr lang="en-US" sz="150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Functions</a:t>
            </a:r>
          </a:p>
        </p:txBody>
      </p:sp>
      <p:sp>
        <p:nvSpPr>
          <p:cNvPr id="13" name="Rectangle 18"/>
          <p:cNvSpPr>
            <a:spLocks noChangeArrowheads="1"/>
          </p:cNvSpPr>
          <p:nvPr/>
        </p:nvSpPr>
        <p:spPr bwMode="gray">
          <a:xfrm>
            <a:off x="3964466" y="4479337"/>
            <a:ext cx="912813" cy="508470"/>
          </a:xfrm>
          <a:prstGeom prst="rect">
            <a:avLst/>
          </a:prstGeom>
          <a:solidFill>
            <a:schemeClr val="tx2">
              <a:alpha val="75000"/>
            </a:schemeClr>
          </a:solidFill>
          <a:ln w="57150">
            <a:noFill/>
            <a:miter lim="800000"/>
            <a:headEnd/>
            <a:tailEnd/>
          </a:ln>
          <a:effectLst/>
        </p:spPr>
        <p:txBody>
          <a:bodyPr wrap="none" lIns="100803" tIns="50402" rIns="100803" bIns="50402" anchor="ctr"/>
          <a:lstStyle/>
          <a:p>
            <a:pPr algn="ctr" defTabSz="1008035">
              <a:lnSpc>
                <a:spcPct val="90000"/>
              </a:lnSpc>
              <a:spcBef>
                <a:spcPct val="25000"/>
              </a:spcBef>
            </a:pPr>
            <a:r>
              <a:rPr lang="en-US" sz="150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Work-</a:t>
            </a:r>
            <a:br>
              <a:rPr lang="en-US" sz="150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</a:br>
            <a:r>
              <a:rPr lang="en-US" sz="150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stream A</a:t>
            </a:r>
          </a:p>
        </p:txBody>
      </p:sp>
      <p:sp>
        <p:nvSpPr>
          <p:cNvPr id="14" name="Rectangle 18"/>
          <p:cNvSpPr>
            <a:spLocks noChangeArrowheads="1"/>
          </p:cNvSpPr>
          <p:nvPr/>
        </p:nvSpPr>
        <p:spPr bwMode="gray">
          <a:xfrm>
            <a:off x="3964466" y="5035083"/>
            <a:ext cx="912813" cy="508470"/>
          </a:xfrm>
          <a:prstGeom prst="rect">
            <a:avLst/>
          </a:prstGeom>
          <a:solidFill>
            <a:schemeClr val="tx2">
              <a:alpha val="75000"/>
            </a:schemeClr>
          </a:solidFill>
          <a:ln w="57150">
            <a:noFill/>
            <a:miter lim="800000"/>
            <a:headEnd/>
            <a:tailEnd/>
          </a:ln>
          <a:effectLst/>
        </p:spPr>
        <p:txBody>
          <a:bodyPr wrap="none" lIns="100803" tIns="50402" rIns="100803" bIns="50402" anchor="ctr"/>
          <a:lstStyle/>
          <a:p>
            <a:pPr algn="ctr" defTabSz="1008035">
              <a:lnSpc>
                <a:spcPct val="90000"/>
              </a:lnSpc>
              <a:spcBef>
                <a:spcPct val="25000"/>
              </a:spcBef>
            </a:pPr>
            <a:r>
              <a:rPr lang="en-US" sz="150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Work-</a:t>
            </a:r>
            <a:br>
              <a:rPr lang="en-US" sz="150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</a:br>
            <a:r>
              <a:rPr lang="en-US" sz="150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stream B</a:t>
            </a:r>
          </a:p>
        </p:txBody>
      </p:sp>
      <p:sp>
        <p:nvSpPr>
          <p:cNvPr id="15" name="Rectangle 18"/>
          <p:cNvSpPr>
            <a:spLocks noChangeArrowheads="1"/>
          </p:cNvSpPr>
          <p:nvPr/>
        </p:nvSpPr>
        <p:spPr bwMode="gray">
          <a:xfrm>
            <a:off x="3964466" y="5605834"/>
            <a:ext cx="912813" cy="508470"/>
          </a:xfrm>
          <a:prstGeom prst="rect">
            <a:avLst/>
          </a:prstGeom>
          <a:solidFill>
            <a:schemeClr val="tx2">
              <a:alpha val="75000"/>
            </a:schemeClr>
          </a:solidFill>
          <a:ln w="57150">
            <a:noFill/>
            <a:miter lim="800000"/>
            <a:headEnd/>
            <a:tailEnd/>
          </a:ln>
          <a:effectLst/>
        </p:spPr>
        <p:txBody>
          <a:bodyPr wrap="none" lIns="100803" tIns="50402" rIns="100803" bIns="50402" anchor="ctr"/>
          <a:lstStyle/>
          <a:p>
            <a:pPr algn="ctr" defTabSz="1008035">
              <a:lnSpc>
                <a:spcPct val="90000"/>
              </a:lnSpc>
              <a:spcBef>
                <a:spcPct val="25000"/>
              </a:spcBef>
            </a:pPr>
            <a:r>
              <a:rPr lang="en-US" sz="150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Work-</a:t>
            </a:r>
            <a:br>
              <a:rPr lang="en-US" sz="150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</a:br>
            <a:r>
              <a:rPr lang="en-US" sz="150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stream X</a:t>
            </a:r>
          </a:p>
        </p:txBody>
      </p:sp>
      <p:cxnSp>
        <p:nvCxnSpPr>
          <p:cNvPr id="17" name="AutoShape 50"/>
          <p:cNvCxnSpPr>
            <a:cxnSpLocks noChangeShapeType="1"/>
          </p:cNvCxnSpPr>
          <p:nvPr/>
        </p:nvCxnSpPr>
        <p:spPr bwMode="gray">
          <a:xfrm rot="16200000" flipH="1">
            <a:off x="4163191" y="3495628"/>
            <a:ext cx="129952" cy="742915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rgbClr val="A4A4A4"/>
            </a:solidFill>
            <a:miter lim="800000"/>
            <a:headEnd/>
            <a:tailEnd/>
          </a:ln>
          <a:effectLst/>
        </p:spPr>
      </p:cxnSp>
      <p:sp>
        <p:nvSpPr>
          <p:cNvPr id="22" name="Rectangle 15"/>
          <p:cNvSpPr>
            <a:spLocks noChangeArrowheads="1"/>
          </p:cNvSpPr>
          <p:nvPr/>
        </p:nvSpPr>
        <p:spPr bwMode="gray">
          <a:xfrm>
            <a:off x="866096" y="3224347"/>
            <a:ext cx="1595274" cy="577761"/>
          </a:xfrm>
          <a:prstGeom prst="rect">
            <a:avLst/>
          </a:prstGeom>
          <a:solidFill>
            <a:srgbClr val="002951"/>
          </a:solidFill>
        </p:spPr>
        <p:txBody>
          <a:bodyPr wrap="square" lIns="0" tIns="0" rIns="0" bIns="39686" rtlCol="0" anchor="ctr" anchorCtr="0">
            <a:noAutofit/>
          </a:bodyPr>
          <a:lstStyle/>
          <a:p>
            <a:pPr algn="ctr">
              <a:spcAft>
                <a:spcPts val="496"/>
              </a:spcAft>
            </a:pPr>
            <a:r>
              <a:rPr lang="en-US" sz="1500" dirty="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Program </a:t>
            </a:r>
            <a:br>
              <a:rPr lang="en-US" sz="1500" dirty="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</a:br>
            <a:r>
              <a:rPr lang="en-US" sz="1500" dirty="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Management</a:t>
            </a:r>
          </a:p>
        </p:txBody>
      </p:sp>
      <p:cxnSp>
        <p:nvCxnSpPr>
          <p:cNvPr id="24" name="AutoShape 42"/>
          <p:cNvCxnSpPr>
            <a:cxnSpLocks noChangeShapeType="1"/>
            <a:stCxn id="22" idx="2"/>
            <a:endCxn id="34" idx="3"/>
          </p:cNvCxnSpPr>
          <p:nvPr/>
        </p:nvCxnSpPr>
        <p:spPr bwMode="gray">
          <a:xfrm rot="5400000">
            <a:off x="596395" y="4792729"/>
            <a:ext cx="2057961" cy="76718"/>
          </a:xfrm>
          <a:prstGeom prst="bentConnector2">
            <a:avLst/>
          </a:prstGeom>
          <a:noFill/>
          <a:ln w="12700">
            <a:solidFill>
              <a:srgbClr val="A4A4A4"/>
            </a:solidFill>
            <a:miter lim="800000"/>
            <a:headEnd/>
            <a:tailEnd/>
          </a:ln>
          <a:effectLst/>
        </p:spPr>
      </p:cxnSp>
      <p:cxnSp>
        <p:nvCxnSpPr>
          <p:cNvPr id="29" name="AutoShape 49"/>
          <p:cNvCxnSpPr>
            <a:cxnSpLocks noChangeShapeType="1"/>
            <a:stCxn id="22" idx="2"/>
            <a:endCxn id="33" idx="3"/>
          </p:cNvCxnSpPr>
          <p:nvPr/>
        </p:nvCxnSpPr>
        <p:spPr bwMode="gray">
          <a:xfrm rot="5400000">
            <a:off x="876299" y="4512825"/>
            <a:ext cx="1498152" cy="76718"/>
          </a:xfrm>
          <a:prstGeom prst="bentConnector2">
            <a:avLst/>
          </a:prstGeom>
          <a:noFill/>
          <a:ln w="12700">
            <a:solidFill>
              <a:srgbClr val="A4A4A4"/>
            </a:solidFill>
            <a:miter lim="800000"/>
            <a:headEnd/>
            <a:tailEnd/>
          </a:ln>
          <a:effectLst/>
        </p:spPr>
      </p:cxnSp>
      <p:cxnSp>
        <p:nvCxnSpPr>
          <p:cNvPr id="30" name="AutoShape 50"/>
          <p:cNvCxnSpPr>
            <a:cxnSpLocks noChangeShapeType="1"/>
          </p:cNvCxnSpPr>
          <p:nvPr/>
        </p:nvCxnSpPr>
        <p:spPr bwMode="gray">
          <a:xfrm rot="16200000" flipH="1">
            <a:off x="1865529" y="3599263"/>
            <a:ext cx="132768" cy="538456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rgbClr val="A4A4A4"/>
            </a:solidFill>
            <a:miter lim="800000"/>
            <a:headEnd/>
            <a:tailEnd/>
          </a:ln>
          <a:effectLst/>
        </p:spPr>
      </p:cxnSp>
      <p:cxnSp>
        <p:nvCxnSpPr>
          <p:cNvPr id="31" name="AutoShape 51"/>
          <p:cNvCxnSpPr>
            <a:cxnSpLocks noChangeShapeType="1"/>
          </p:cNvCxnSpPr>
          <p:nvPr/>
        </p:nvCxnSpPr>
        <p:spPr bwMode="gray">
          <a:xfrm rot="5400000">
            <a:off x="1156204" y="4232920"/>
            <a:ext cx="938343" cy="76718"/>
          </a:xfrm>
          <a:prstGeom prst="bentConnector2">
            <a:avLst/>
          </a:prstGeom>
          <a:noFill/>
          <a:ln w="12700">
            <a:solidFill>
              <a:srgbClr val="A4A4A4"/>
            </a:solidFill>
            <a:miter lim="800000"/>
            <a:headEnd/>
            <a:tailEnd/>
          </a:ln>
          <a:effectLst/>
        </p:spPr>
      </p:cxnSp>
      <p:sp>
        <p:nvSpPr>
          <p:cNvPr id="32" name="Rectangle 18"/>
          <p:cNvSpPr>
            <a:spLocks noChangeArrowheads="1"/>
          </p:cNvSpPr>
          <p:nvPr/>
        </p:nvSpPr>
        <p:spPr bwMode="gray">
          <a:xfrm>
            <a:off x="674202" y="4486216"/>
            <a:ext cx="912813" cy="508470"/>
          </a:xfrm>
          <a:prstGeom prst="rect">
            <a:avLst/>
          </a:prstGeom>
          <a:solidFill>
            <a:srgbClr val="003366">
              <a:alpha val="75000"/>
            </a:srgbClr>
          </a:solidFill>
          <a:ln w="57150">
            <a:noFill/>
            <a:miter lim="800000"/>
            <a:headEnd/>
            <a:tailEnd/>
          </a:ln>
          <a:effectLst/>
        </p:spPr>
        <p:txBody>
          <a:bodyPr wrap="none" lIns="100803" tIns="50402" rIns="100803" bIns="50402" anchor="ctr"/>
          <a:lstStyle/>
          <a:p>
            <a:pPr algn="ctr" defTabSz="1008035">
              <a:lnSpc>
                <a:spcPct val="90000"/>
              </a:lnSpc>
              <a:spcBef>
                <a:spcPct val="25000"/>
              </a:spcBef>
            </a:pPr>
            <a:r>
              <a:rPr lang="en-US" sz="150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Work-</a:t>
            </a:r>
            <a:br>
              <a:rPr lang="en-US" sz="150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</a:br>
            <a:r>
              <a:rPr lang="en-US" sz="150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stream A</a:t>
            </a:r>
          </a:p>
        </p:txBody>
      </p:sp>
      <p:sp>
        <p:nvSpPr>
          <p:cNvPr id="33" name="Rectangle 18"/>
          <p:cNvSpPr>
            <a:spLocks noChangeArrowheads="1"/>
          </p:cNvSpPr>
          <p:nvPr/>
        </p:nvSpPr>
        <p:spPr bwMode="gray">
          <a:xfrm>
            <a:off x="674202" y="5046025"/>
            <a:ext cx="912813" cy="508470"/>
          </a:xfrm>
          <a:prstGeom prst="rect">
            <a:avLst/>
          </a:prstGeom>
          <a:solidFill>
            <a:srgbClr val="003366">
              <a:alpha val="75000"/>
            </a:srgbClr>
          </a:solidFill>
          <a:ln w="57150">
            <a:noFill/>
            <a:miter lim="800000"/>
            <a:headEnd/>
            <a:tailEnd/>
          </a:ln>
          <a:effectLst/>
        </p:spPr>
        <p:txBody>
          <a:bodyPr wrap="none" lIns="100803" tIns="50402" rIns="100803" bIns="50402" anchor="ctr"/>
          <a:lstStyle/>
          <a:p>
            <a:pPr algn="ctr" defTabSz="1008035">
              <a:lnSpc>
                <a:spcPct val="90000"/>
              </a:lnSpc>
              <a:spcBef>
                <a:spcPct val="25000"/>
              </a:spcBef>
            </a:pPr>
            <a:r>
              <a:rPr lang="en-US" sz="150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Work-</a:t>
            </a:r>
            <a:br>
              <a:rPr lang="en-US" sz="150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</a:br>
            <a:r>
              <a:rPr lang="en-US" sz="150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stream B</a:t>
            </a:r>
          </a:p>
        </p:txBody>
      </p:sp>
      <p:sp>
        <p:nvSpPr>
          <p:cNvPr id="34" name="Rectangle 18"/>
          <p:cNvSpPr>
            <a:spLocks noChangeArrowheads="1"/>
          </p:cNvSpPr>
          <p:nvPr/>
        </p:nvSpPr>
        <p:spPr bwMode="gray">
          <a:xfrm>
            <a:off x="674202" y="5605834"/>
            <a:ext cx="912813" cy="508470"/>
          </a:xfrm>
          <a:prstGeom prst="rect">
            <a:avLst/>
          </a:prstGeom>
          <a:solidFill>
            <a:srgbClr val="003366">
              <a:alpha val="75000"/>
            </a:srgbClr>
          </a:solidFill>
          <a:ln w="57150">
            <a:noFill/>
            <a:miter lim="800000"/>
            <a:headEnd/>
            <a:tailEnd/>
          </a:ln>
          <a:effectLst/>
        </p:spPr>
        <p:txBody>
          <a:bodyPr wrap="none" lIns="100803" tIns="50402" rIns="100803" bIns="50402" anchor="ctr"/>
          <a:lstStyle/>
          <a:p>
            <a:pPr algn="ctr" defTabSz="1008035">
              <a:lnSpc>
                <a:spcPct val="90000"/>
              </a:lnSpc>
              <a:spcBef>
                <a:spcPct val="25000"/>
              </a:spcBef>
            </a:pPr>
            <a:r>
              <a:rPr lang="en-US" sz="150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Work-</a:t>
            </a:r>
            <a:br>
              <a:rPr lang="en-US" sz="150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</a:br>
            <a:r>
              <a:rPr lang="en-US" sz="150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stream X</a:t>
            </a:r>
          </a:p>
        </p:txBody>
      </p:sp>
      <p:cxnSp>
        <p:nvCxnSpPr>
          <p:cNvPr id="36" name="AutoShape 50"/>
          <p:cNvCxnSpPr>
            <a:cxnSpLocks noChangeShapeType="1"/>
          </p:cNvCxnSpPr>
          <p:nvPr/>
        </p:nvCxnSpPr>
        <p:spPr bwMode="gray">
          <a:xfrm rot="5400000">
            <a:off x="1330788" y="3601929"/>
            <a:ext cx="132768" cy="533124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rgbClr val="A4A4A4"/>
            </a:solidFill>
            <a:miter lim="800000"/>
            <a:headEnd/>
            <a:tailEnd/>
          </a:ln>
          <a:effectLst/>
        </p:spPr>
      </p:cxnSp>
      <p:cxnSp>
        <p:nvCxnSpPr>
          <p:cNvPr id="41" name="Straight Connector 195"/>
          <p:cNvCxnSpPr>
            <a:stCxn id="5" idx="3"/>
            <a:endCxn id="8" idx="1"/>
          </p:cNvCxnSpPr>
          <p:nvPr/>
        </p:nvCxnSpPr>
        <p:spPr>
          <a:xfrm flipV="1">
            <a:off x="2658595" y="4186296"/>
            <a:ext cx="182181" cy="2815"/>
          </a:xfrm>
          <a:prstGeom prst="line">
            <a:avLst/>
          </a:prstGeom>
          <a:ln w="12700">
            <a:solidFill>
              <a:srgbClr val="BABD5A"/>
            </a:solidFill>
            <a:prstDash val="solid"/>
            <a:headEnd type="triangle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196"/>
          <p:cNvCxnSpPr/>
          <p:nvPr/>
        </p:nvCxnSpPr>
        <p:spPr>
          <a:xfrm>
            <a:off x="1981849" y="4728016"/>
            <a:ext cx="1660854" cy="0"/>
          </a:xfrm>
          <a:prstGeom prst="line">
            <a:avLst/>
          </a:prstGeom>
          <a:ln w="12700">
            <a:solidFill>
              <a:srgbClr val="BABD5A"/>
            </a:solidFill>
            <a:prstDash val="solid"/>
            <a:headEnd type="triangle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199"/>
          <p:cNvCxnSpPr/>
          <p:nvPr/>
        </p:nvCxnSpPr>
        <p:spPr>
          <a:xfrm>
            <a:off x="1981849" y="5280375"/>
            <a:ext cx="1660854" cy="0"/>
          </a:xfrm>
          <a:prstGeom prst="line">
            <a:avLst/>
          </a:prstGeom>
          <a:ln w="12700">
            <a:solidFill>
              <a:srgbClr val="BABD5A"/>
            </a:solidFill>
            <a:prstDash val="solid"/>
            <a:headEnd type="triangle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200"/>
          <p:cNvCxnSpPr/>
          <p:nvPr/>
        </p:nvCxnSpPr>
        <p:spPr>
          <a:xfrm>
            <a:off x="1981849" y="5832733"/>
            <a:ext cx="1660854" cy="0"/>
          </a:xfrm>
          <a:prstGeom prst="line">
            <a:avLst/>
          </a:prstGeom>
          <a:ln w="12700">
            <a:solidFill>
              <a:srgbClr val="BABD5A"/>
            </a:solidFill>
            <a:prstDash val="solid"/>
            <a:headEnd type="triangle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202"/>
          <p:cNvCxnSpPr>
            <a:stCxn id="22" idx="3"/>
            <a:endCxn id="7" idx="1"/>
          </p:cNvCxnSpPr>
          <p:nvPr/>
        </p:nvCxnSpPr>
        <p:spPr>
          <a:xfrm>
            <a:off x="2461370" y="3513228"/>
            <a:ext cx="597665" cy="1"/>
          </a:xfrm>
          <a:prstGeom prst="line">
            <a:avLst/>
          </a:prstGeom>
          <a:ln w="12700">
            <a:solidFill>
              <a:srgbClr val="BABD5A"/>
            </a:solidFill>
            <a:prstDash val="solid"/>
            <a:headEnd type="triangle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7" name="Rounded Rectangle 205"/>
          <p:cNvSpPr/>
          <p:nvPr/>
        </p:nvSpPr>
        <p:spPr>
          <a:xfrm rot="5400000">
            <a:off x="2601359" y="933337"/>
            <a:ext cx="317566" cy="3788098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38100">
            <a:gradFill>
              <a:gsLst>
                <a:gs pos="0">
                  <a:schemeClr val="tx2"/>
                </a:gs>
                <a:gs pos="50000">
                  <a:schemeClr val="bg1">
                    <a:lumMod val="85000"/>
                  </a:schemeClr>
                </a:gs>
                <a:gs pos="100000">
                  <a:srgbClr val="427BAB"/>
                </a:gs>
              </a:gsLst>
              <a:lin ang="5400000" scaled="0"/>
            </a:gra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lIns="100803" tIns="50402" rIns="100803" bIns="50402" rtlCol="0" anchor="ctr"/>
          <a:lstStyle/>
          <a:p>
            <a:pPr algn="ctr"/>
            <a:r>
              <a:rPr lang="en-US" sz="1500" dirty="0">
                <a:solidFill>
                  <a:schemeClr val="tx1"/>
                </a:solidFill>
                <a:latin typeface="Tele-GroteskFet" pitchFamily="2" charset="0"/>
              </a:rPr>
              <a:t>Project Steering Committee</a:t>
            </a:r>
          </a:p>
        </p:txBody>
      </p:sp>
      <p:cxnSp>
        <p:nvCxnSpPr>
          <p:cNvPr id="50" name="Form 49"/>
          <p:cNvCxnSpPr>
            <a:stCxn id="7" idx="2"/>
            <a:endCxn id="13" idx="1"/>
          </p:cNvCxnSpPr>
          <p:nvPr/>
        </p:nvCxnSpPr>
        <p:spPr>
          <a:xfrm rot="16200000" flipH="1">
            <a:off x="3444839" y="4213944"/>
            <a:ext cx="931463" cy="107793"/>
          </a:xfrm>
          <a:prstGeom prst="bentConnector2">
            <a:avLst/>
          </a:prstGeom>
          <a:ln w="12700">
            <a:solidFill>
              <a:schemeClr val="bg2"/>
            </a:solidFill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1" name="Form 50"/>
          <p:cNvCxnSpPr>
            <a:stCxn id="7" idx="2"/>
            <a:endCxn id="14" idx="1"/>
          </p:cNvCxnSpPr>
          <p:nvPr/>
        </p:nvCxnSpPr>
        <p:spPr>
          <a:xfrm rot="16200000" flipH="1">
            <a:off x="3166966" y="4491816"/>
            <a:ext cx="1487208" cy="107793"/>
          </a:xfrm>
          <a:prstGeom prst="bentConnector2">
            <a:avLst/>
          </a:prstGeom>
          <a:ln w="12700">
            <a:solidFill>
              <a:schemeClr val="bg2"/>
            </a:solidFill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2" name="Form 51"/>
          <p:cNvCxnSpPr>
            <a:stCxn id="7" idx="2"/>
            <a:endCxn id="15" idx="1"/>
          </p:cNvCxnSpPr>
          <p:nvPr/>
        </p:nvCxnSpPr>
        <p:spPr>
          <a:xfrm rot="16200000" flipH="1">
            <a:off x="2881589" y="4777193"/>
            <a:ext cx="2057960" cy="107793"/>
          </a:xfrm>
          <a:prstGeom prst="bentConnector2">
            <a:avLst/>
          </a:prstGeom>
          <a:ln w="12700">
            <a:solidFill>
              <a:schemeClr val="bg2"/>
            </a:solidFill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5" name="Gewinkelte Verbindung 54"/>
          <p:cNvCxnSpPr/>
          <p:nvPr/>
        </p:nvCxnSpPr>
        <p:spPr>
          <a:xfrm rot="5400000" flipH="1" flipV="1">
            <a:off x="3512478" y="3587341"/>
            <a:ext cx="129952" cy="559490"/>
          </a:xfrm>
          <a:prstGeom prst="bentConnector3">
            <a:avLst>
              <a:gd name="adj1" fmla="val 50000"/>
            </a:avLst>
          </a:prstGeom>
          <a:ln w="12700">
            <a:solidFill>
              <a:schemeClr val="bg2"/>
            </a:solidFill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6" name="Rounded Rectangle 205"/>
          <p:cNvSpPr/>
          <p:nvPr/>
        </p:nvSpPr>
        <p:spPr>
          <a:xfrm rot="5400000">
            <a:off x="2603883" y="882055"/>
            <a:ext cx="316802" cy="2937202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38100">
            <a:gradFill>
              <a:gsLst>
                <a:gs pos="0">
                  <a:schemeClr val="tx2"/>
                </a:gs>
                <a:gs pos="50000">
                  <a:schemeClr val="bg1">
                    <a:lumMod val="85000"/>
                  </a:schemeClr>
                </a:gs>
                <a:gs pos="100000">
                  <a:srgbClr val="427BAB"/>
                </a:gs>
              </a:gsLst>
              <a:lin ang="5400000" scaled="0"/>
            </a:gra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lIns="100803" tIns="50402" rIns="100803" bIns="50402" rtlCol="0" anchor="ctr"/>
          <a:lstStyle/>
          <a:p>
            <a:pPr algn="ctr"/>
            <a:r>
              <a:rPr lang="en-US" sz="1500" dirty="0">
                <a:solidFill>
                  <a:schemeClr val="tx1"/>
                </a:solidFill>
                <a:latin typeface="Tele-GroteskFet" pitchFamily="2" charset="0"/>
              </a:rPr>
              <a:t>Executive Steering Committee</a:t>
            </a:r>
          </a:p>
        </p:txBody>
      </p:sp>
      <p:cxnSp>
        <p:nvCxnSpPr>
          <p:cNvPr id="57" name="Gerade Verbindung 56"/>
          <p:cNvCxnSpPr>
            <a:stCxn id="56" idx="3"/>
            <a:endCxn id="47" idx="1"/>
          </p:cNvCxnSpPr>
          <p:nvPr/>
        </p:nvCxnSpPr>
        <p:spPr>
          <a:xfrm flipH="1">
            <a:off x="2760142" y="2509057"/>
            <a:ext cx="2141" cy="159546"/>
          </a:xfrm>
          <a:prstGeom prst="line">
            <a:avLst/>
          </a:prstGeom>
          <a:ln w="12700">
            <a:solidFill>
              <a:schemeClr val="bg2"/>
            </a:solidFill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0" name="Form 69"/>
          <p:cNvCxnSpPr>
            <a:stCxn id="47" idx="3"/>
            <a:endCxn id="22" idx="0"/>
          </p:cNvCxnSpPr>
          <p:nvPr/>
        </p:nvCxnSpPr>
        <p:spPr>
          <a:xfrm rot="5400000">
            <a:off x="2092848" y="2557054"/>
            <a:ext cx="238179" cy="1096409"/>
          </a:xfrm>
          <a:prstGeom prst="bentConnector5">
            <a:avLst>
              <a:gd name="adj1" fmla="val 56232"/>
              <a:gd name="adj2" fmla="val 20865"/>
              <a:gd name="adj3" fmla="val 55908"/>
            </a:avLst>
          </a:prstGeom>
          <a:ln w="12700">
            <a:solidFill>
              <a:schemeClr val="bg2"/>
            </a:solidFill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5" name="Form 74"/>
          <p:cNvCxnSpPr>
            <a:stCxn id="47" idx="3"/>
            <a:endCxn id="7" idx="0"/>
          </p:cNvCxnSpPr>
          <p:nvPr/>
        </p:nvCxnSpPr>
        <p:spPr>
          <a:xfrm rot="16200000" flipH="1">
            <a:off x="3189318" y="2556993"/>
            <a:ext cx="238180" cy="1096530"/>
          </a:xfrm>
          <a:prstGeom prst="bentConnector5">
            <a:avLst>
              <a:gd name="adj1" fmla="val 56346"/>
              <a:gd name="adj2" fmla="val 20868"/>
              <a:gd name="adj3" fmla="val 57397"/>
            </a:avLst>
          </a:prstGeom>
          <a:ln w="12700">
            <a:solidFill>
              <a:schemeClr val="bg2"/>
            </a:solidFill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4" name="Rectangle 6"/>
          <p:cNvSpPr>
            <a:spLocks noChangeArrowheads="1"/>
          </p:cNvSpPr>
          <p:nvPr/>
        </p:nvSpPr>
        <p:spPr bwMode="auto">
          <a:xfrm>
            <a:off x="5437232" y="1890902"/>
            <a:ext cx="4286371" cy="4412486"/>
          </a:xfrm>
          <a:prstGeom prst="rect">
            <a:avLst/>
          </a:prstGeom>
          <a:solidFill>
            <a:schemeClr val="bg1"/>
          </a:solidFill>
          <a:ln w="38100" algn="ctr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lIns="158746" tIns="515923" rIns="158746" bIns="50402"/>
          <a:lstStyle/>
          <a:p>
            <a:pPr marL="196007" lvl="1" indent="-194257" defTabSz="1008035">
              <a:lnSpc>
                <a:spcPct val="90000"/>
              </a:lnSpc>
              <a:spcBef>
                <a:spcPct val="25000"/>
              </a:spcBef>
              <a:buFont typeface="Wingdings" pitchFamily="2" charset="2"/>
              <a:buChar char="§"/>
            </a:pPr>
            <a:endParaRPr lang="hu-HU" sz="1800" smtClean="0">
              <a:latin typeface="Tele-GroteskNor" pitchFamily="2" charset="0"/>
            </a:endParaRPr>
          </a:p>
          <a:p>
            <a:pPr marL="196007" lvl="1" indent="-194257" defTabSz="1008035">
              <a:lnSpc>
                <a:spcPct val="90000"/>
              </a:lnSpc>
              <a:spcBef>
                <a:spcPct val="25000"/>
              </a:spcBef>
              <a:buFont typeface="Wingdings" pitchFamily="2" charset="2"/>
              <a:buChar char="§"/>
            </a:pPr>
            <a:r>
              <a:rPr lang="en-US" sz="1800" smtClean="0">
                <a:latin typeface="Tele-GroteskNor" pitchFamily="2" charset="0"/>
              </a:rPr>
              <a:t>Responsible </a:t>
            </a:r>
            <a:r>
              <a:rPr lang="en-US" sz="1800">
                <a:latin typeface="Tele-GroteskNor" pitchFamily="2" charset="0"/>
              </a:rPr>
              <a:t>for all PM related topics and interfacing with </a:t>
            </a:r>
            <a:r>
              <a:rPr lang="hu-HU" sz="1800" smtClean="0">
                <a:latin typeface="Tele-GroteskNor" pitchFamily="2" charset="0"/>
              </a:rPr>
              <a:t>the organization </a:t>
            </a:r>
            <a:r>
              <a:rPr lang="en-US" sz="1800" smtClean="0">
                <a:latin typeface="Tele-GroteskNor" pitchFamily="2" charset="0"/>
              </a:rPr>
              <a:t> </a:t>
            </a:r>
            <a:r>
              <a:rPr lang="en-US" sz="1800">
                <a:latin typeface="Tele-GroteskNor" pitchFamily="2" charset="0"/>
              </a:rPr>
              <a:t>on general requirements (planning, reporting, etc</a:t>
            </a:r>
            <a:r>
              <a:rPr lang="en-US" sz="1800" smtClean="0">
                <a:latin typeface="Tele-GroteskNor" pitchFamily="2" charset="0"/>
              </a:rPr>
              <a:t>.).</a:t>
            </a:r>
            <a:endParaRPr lang="hu-HU" sz="1800" smtClean="0">
              <a:latin typeface="Tele-GroteskNor" pitchFamily="2" charset="0"/>
            </a:endParaRPr>
          </a:p>
          <a:p>
            <a:pPr marL="196007" lvl="1" indent="-194257" defTabSz="1008035">
              <a:lnSpc>
                <a:spcPct val="90000"/>
              </a:lnSpc>
              <a:spcBef>
                <a:spcPct val="25000"/>
              </a:spcBef>
              <a:buFont typeface="Wingdings" pitchFamily="2" charset="2"/>
              <a:buChar char="§"/>
            </a:pPr>
            <a:r>
              <a:rPr lang="en-US" sz="1800">
                <a:latin typeface="Tele-GroteskNor" pitchFamily="2" charset="0"/>
              </a:rPr>
              <a:t>Responsible for supporting of PM related topics and interfacing with Customer PMO on general requirements  (planning, reporting, etc.).</a:t>
            </a:r>
          </a:p>
          <a:p>
            <a:pPr marL="196007" lvl="1" indent="-194257" defTabSz="1008035">
              <a:lnSpc>
                <a:spcPct val="90000"/>
              </a:lnSpc>
              <a:spcBef>
                <a:spcPct val="25000"/>
              </a:spcBef>
              <a:buFont typeface="Wingdings" pitchFamily="2" charset="2"/>
              <a:buChar char="§"/>
            </a:pPr>
            <a:r>
              <a:rPr lang="en-US" sz="1800">
                <a:latin typeface="Tele-GroteskNor" pitchFamily="2" charset="0"/>
              </a:rPr>
              <a:t>Responsible for administration and content of project EPM and customer EPM (Enterprise Project Management tool).</a:t>
            </a:r>
          </a:p>
          <a:p>
            <a:pPr marL="1750" lvl="1" defTabSz="1008035">
              <a:lnSpc>
                <a:spcPct val="90000"/>
              </a:lnSpc>
              <a:spcBef>
                <a:spcPct val="25000"/>
              </a:spcBef>
            </a:pPr>
            <a:endParaRPr lang="en-US" sz="1800" smtClean="0">
              <a:latin typeface="Tele-GroteskNor" pitchFamily="2" charset="0"/>
            </a:endParaRPr>
          </a:p>
          <a:p>
            <a:pPr marL="196007" lvl="1" indent="-194257" defTabSz="1008035">
              <a:lnSpc>
                <a:spcPct val="90000"/>
              </a:lnSpc>
              <a:spcBef>
                <a:spcPct val="25000"/>
              </a:spcBef>
              <a:buFont typeface="Wingdings" pitchFamily="2" charset="2"/>
              <a:buChar char="§"/>
            </a:pPr>
            <a:endParaRPr lang="en-US" sz="1500" dirty="0">
              <a:latin typeface="Tele-GroteskNor" pitchFamily="2" charset="0"/>
            </a:endParaRPr>
          </a:p>
        </p:txBody>
      </p:sp>
      <p:sp>
        <p:nvSpPr>
          <p:cNvPr id="85" name="Rectangle 7"/>
          <p:cNvSpPr>
            <a:spLocks noChangeArrowheads="1"/>
          </p:cNvSpPr>
          <p:nvPr/>
        </p:nvSpPr>
        <p:spPr bwMode="auto">
          <a:xfrm>
            <a:off x="5437232" y="1890902"/>
            <a:ext cx="4286371" cy="478845"/>
          </a:xfrm>
          <a:prstGeom prst="rect">
            <a:avLst/>
          </a:prstGeom>
          <a:solidFill>
            <a:schemeClr val="bg2"/>
          </a:solidFill>
          <a:ln w="38100" algn="ctr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wrap="square" lIns="158746" tIns="79373" rIns="158746" bIns="79373">
            <a:spAutoFit/>
          </a:bodyPr>
          <a:lstStyle/>
          <a:p>
            <a:pPr>
              <a:lnSpc>
                <a:spcPct val="90000"/>
              </a:lnSpc>
              <a:spcBef>
                <a:spcPct val="25000"/>
              </a:spcBef>
              <a:buClrTx/>
              <a:buSzTx/>
              <a:buFontTx/>
              <a:buNone/>
            </a:pPr>
            <a:r>
              <a:rPr lang="en-US" cap="all">
                <a:solidFill>
                  <a:schemeClr val="bg1"/>
                </a:solidFill>
                <a:cs typeface="Arial" charset="0"/>
              </a:rPr>
              <a:t>Project Management Office</a:t>
            </a:r>
          </a:p>
        </p:txBody>
      </p:sp>
      <p:sp>
        <p:nvSpPr>
          <p:cNvPr id="61" name="Textfeld 60"/>
          <p:cNvSpPr txBox="1"/>
          <p:nvPr/>
        </p:nvSpPr>
        <p:spPr>
          <a:xfrm>
            <a:off x="983195" y="1615131"/>
            <a:ext cx="107158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97648" indent="-297648" algn="ctr">
              <a:spcAft>
                <a:spcPts val="496"/>
              </a:spcAft>
              <a:buClr>
                <a:schemeClr val="tx2"/>
              </a:buClr>
            </a:pPr>
            <a:r>
              <a:rPr lang="de-DE" sz="1800" dirty="0">
                <a:solidFill>
                  <a:srgbClr val="003366"/>
                </a:solidFill>
              </a:rPr>
              <a:t>Customer</a:t>
            </a:r>
          </a:p>
        </p:txBody>
      </p:sp>
      <p:sp>
        <p:nvSpPr>
          <p:cNvPr id="63" name="Textfeld 62"/>
          <p:cNvSpPr txBox="1"/>
          <p:nvPr/>
        </p:nvSpPr>
        <p:spPr>
          <a:xfrm>
            <a:off x="3464740" y="1615131"/>
            <a:ext cx="107158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97648" indent="-297648" algn="ctr">
              <a:spcAft>
                <a:spcPts val="496"/>
              </a:spcAft>
              <a:buClr>
                <a:schemeClr val="tx2"/>
              </a:buClr>
            </a:pPr>
            <a:r>
              <a:rPr lang="de-DE" sz="1800" dirty="0">
                <a:solidFill>
                  <a:schemeClr val="tx2"/>
                </a:solidFill>
              </a:rPr>
              <a:t>T-Systems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srgbClr val="000000"/>
                </a:solidFill>
              </a:rPr>
              <a:t>PTE MIK PM1 2018/19-1        -        PMO Basics</a:t>
            </a:r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323992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627" name="Picture 3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77046" y="2465620"/>
            <a:ext cx="3401659" cy="2627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60001" y="151847"/>
            <a:ext cx="9359999" cy="588082"/>
          </a:xfrm>
        </p:spPr>
        <p:txBody>
          <a:bodyPr/>
          <a:lstStyle/>
          <a:p>
            <a:r>
              <a:rPr lang="en-US" smtClean="0"/>
              <a:t>Pmo</a:t>
            </a:r>
            <a:r>
              <a:rPr lang="hu-HU" smtClean="0"/>
              <a:t> key tasks</a:t>
            </a:r>
            <a:endParaRPr lang="en-US" sz="240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>
          <a:xfrm>
            <a:off x="3816000" y="6896293"/>
            <a:ext cx="4539600" cy="360362"/>
          </a:xfrm>
        </p:spPr>
        <p:txBody>
          <a:bodyPr/>
          <a:lstStyle/>
          <a:p>
            <a:r>
              <a:rPr lang="en-US" noProof="0" smtClean="0"/>
              <a:t>PTE MIK PM1 2018/19-1        -        PMO Basics</a:t>
            </a:r>
            <a:endParaRPr lang="en-US" noProof="0" dirty="0" smtClean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9396000" y="6885142"/>
            <a:ext cx="320400" cy="360362"/>
          </a:xfrm>
        </p:spPr>
        <p:txBody>
          <a:bodyPr/>
          <a:lstStyle/>
          <a:p>
            <a:fld id="{9185B2FC-D18E-4EA2-A103-6DCF88856111}" type="slidenum">
              <a:rPr lang="en-US" noProof="0" smtClean="0"/>
              <a:pPr/>
              <a:t>17</a:t>
            </a:fld>
            <a:endParaRPr lang="en-US" noProof="0" dirty="0"/>
          </a:p>
        </p:txBody>
      </p:sp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2163629891"/>
              </p:ext>
            </p:extLst>
          </p:nvPr>
        </p:nvGraphicFramePr>
        <p:xfrm>
          <a:off x="234175" y="412600"/>
          <a:ext cx="9846450" cy="654297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3570954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2551" name="Rectangle 35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PMO tasks – initiation &amp; planning					1/3</a:t>
            </a:r>
            <a:endParaRPr lang="en-US" dirty="0">
              <a:latin typeface="TeleGrotesk Headline" pitchFamily="2" charset="0"/>
            </a:endParaRPr>
          </a:p>
        </p:txBody>
      </p:sp>
      <p:sp>
        <p:nvSpPr>
          <p:cNvPr id="492547" name="AutoShape 120"/>
          <p:cNvSpPr>
            <a:spLocks noChangeArrowheads="1"/>
          </p:cNvSpPr>
          <p:nvPr/>
        </p:nvSpPr>
        <p:spPr bwMode="auto">
          <a:xfrm>
            <a:off x="303439" y="5121296"/>
            <a:ext cx="1737987" cy="1359042"/>
          </a:xfrm>
          <a:prstGeom prst="rect">
            <a:avLst/>
          </a:prstGeom>
          <a:noFill/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108000" tIns="108000" rIns="0" bIns="0" anchor="t" anchorCtr="0"/>
          <a:lstStyle/>
          <a:p>
            <a:pPr defTabSz="914400">
              <a:lnSpc>
                <a:spcPct val="90000"/>
              </a:lnSpc>
            </a:pPr>
            <a:r>
              <a:rPr lang="hu-HU" sz="1800" dirty="0" smtClean="0">
                <a:solidFill>
                  <a:schemeClr val="tx2"/>
                </a:solidFill>
                <a:latin typeface="Tele-GroteskFet" pitchFamily="2" charset="0"/>
                <a:cs typeface="Arial Unicode MS"/>
              </a:rPr>
              <a:t>CONSULTANCY</a:t>
            </a:r>
            <a:endParaRPr lang="en-US" sz="1800" dirty="0">
              <a:solidFill>
                <a:schemeClr val="tx2"/>
              </a:solidFill>
              <a:latin typeface="Tele-GroteskFet" pitchFamily="2" charset="0"/>
              <a:cs typeface="Arial Unicode MS"/>
            </a:endParaRPr>
          </a:p>
        </p:txBody>
      </p:sp>
      <p:sp>
        <p:nvSpPr>
          <p:cNvPr id="492548" name="AutoShape 120"/>
          <p:cNvSpPr>
            <a:spLocks noChangeArrowheads="1"/>
          </p:cNvSpPr>
          <p:nvPr/>
        </p:nvSpPr>
        <p:spPr bwMode="auto">
          <a:xfrm>
            <a:off x="294011" y="3274071"/>
            <a:ext cx="1737987" cy="1701521"/>
          </a:xfrm>
          <a:prstGeom prst="rect">
            <a:avLst/>
          </a:prstGeom>
          <a:noFill/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108000" tIns="108000" rIns="0" bIns="0" anchor="t" anchorCtr="0"/>
          <a:lstStyle/>
          <a:p>
            <a:pPr defTabSz="914400">
              <a:lnSpc>
                <a:spcPct val="90000"/>
              </a:lnSpc>
            </a:pPr>
            <a:r>
              <a:rPr lang="hu-HU" sz="1800" dirty="0" smtClean="0">
                <a:solidFill>
                  <a:schemeClr val="tx2"/>
                </a:solidFill>
                <a:latin typeface="Tele-GroteskFet" pitchFamily="2" charset="0"/>
                <a:cs typeface="Arial Unicode MS"/>
              </a:rPr>
              <a:t>COMMUNICATION MAPPING</a:t>
            </a:r>
            <a:endParaRPr lang="en-US" sz="1800" dirty="0">
              <a:solidFill>
                <a:schemeClr val="tx2"/>
              </a:solidFill>
              <a:latin typeface="Tele-GroteskFet" pitchFamily="2" charset="0"/>
              <a:cs typeface="Arial Unicode MS"/>
            </a:endParaRPr>
          </a:p>
        </p:txBody>
      </p:sp>
      <p:sp>
        <p:nvSpPr>
          <p:cNvPr id="492550" name="AutoShape 120"/>
          <p:cNvSpPr>
            <a:spLocks noChangeArrowheads="1"/>
          </p:cNvSpPr>
          <p:nvPr/>
        </p:nvSpPr>
        <p:spPr bwMode="auto">
          <a:xfrm>
            <a:off x="303439" y="1391182"/>
            <a:ext cx="1737987" cy="1758384"/>
          </a:xfrm>
          <a:prstGeom prst="rect">
            <a:avLst/>
          </a:prstGeom>
          <a:noFill/>
          <a:ln w="19050" algn="ctr">
            <a:solidFill>
              <a:schemeClr val="tx2"/>
            </a:solidFill>
            <a:miter lim="800000"/>
            <a:headEnd/>
            <a:tailEnd/>
          </a:ln>
        </p:spPr>
        <p:txBody>
          <a:bodyPr lIns="108000" tIns="108000" rIns="0" bIns="0" anchor="t" anchorCtr="0"/>
          <a:lstStyle/>
          <a:p>
            <a:pPr defTabSz="914400">
              <a:lnSpc>
                <a:spcPct val="90000"/>
              </a:lnSpc>
            </a:pPr>
            <a:r>
              <a:rPr lang="hu-HU" sz="1800" dirty="0" smtClean="0">
                <a:solidFill>
                  <a:schemeClr val="tx2"/>
                </a:solidFill>
                <a:latin typeface="Tele-GroteskFet" pitchFamily="2" charset="0"/>
                <a:cs typeface="Arial Unicode MS"/>
              </a:rPr>
              <a:t>GENERAL – REPORTING &amp; TRACKING</a:t>
            </a:r>
            <a:endParaRPr lang="en-US" sz="1800" dirty="0">
              <a:solidFill>
                <a:schemeClr val="tx2"/>
              </a:solidFill>
              <a:latin typeface="Tele-GroteskFet" pitchFamily="2" charset="0"/>
              <a:cs typeface="Arial Unicode MS"/>
            </a:endParaRPr>
          </a:p>
        </p:txBody>
      </p:sp>
      <p:sp>
        <p:nvSpPr>
          <p:cNvPr id="492564" name="AutoShape 20"/>
          <p:cNvSpPr>
            <a:spLocks noChangeArrowheads="1"/>
          </p:cNvSpPr>
          <p:nvPr/>
        </p:nvSpPr>
        <p:spPr bwMode="auto">
          <a:xfrm>
            <a:off x="2106027" y="1974277"/>
            <a:ext cx="2454463" cy="4515360"/>
          </a:xfrm>
          <a:prstGeom prst="rect">
            <a:avLst/>
          </a:prstGeom>
          <a:noFill/>
          <a:ln w="38100" algn="ctr">
            <a:noFill/>
            <a:miter lim="800000"/>
            <a:headEnd/>
            <a:tailEnd/>
          </a:ln>
          <a:effectLst/>
        </p:spPr>
        <p:txBody>
          <a:bodyPr lIns="72000" tIns="360043" rIns="0" bIns="0"/>
          <a:lstStyle/>
          <a:p>
            <a:pPr marL="92075" indent="-92075" defTabSz="914400">
              <a:lnSpc>
                <a:spcPct val="90000"/>
              </a:lnSpc>
              <a:spcBef>
                <a:spcPct val="25000"/>
              </a:spcBef>
            </a:pPr>
            <a:endParaRPr lang="en-US" sz="1200" dirty="0">
              <a:latin typeface="Tele-GroteskNor" pitchFamily="2" charset="0"/>
              <a:cs typeface="Arial Unicode MS"/>
            </a:endParaRPr>
          </a:p>
        </p:txBody>
      </p:sp>
      <p:sp>
        <p:nvSpPr>
          <p:cNvPr id="492569" name="AutoShape 20"/>
          <p:cNvSpPr>
            <a:spLocks noChangeArrowheads="1"/>
          </p:cNvSpPr>
          <p:nvPr/>
        </p:nvSpPr>
        <p:spPr bwMode="auto">
          <a:xfrm>
            <a:off x="7316438" y="1974277"/>
            <a:ext cx="2454463" cy="4515360"/>
          </a:xfrm>
          <a:prstGeom prst="rect">
            <a:avLst/>
          </a:prstGeom>
          <a:noFill/>
          <a:ln w="38100" algn="ctr">
            <a:noFill/>
            <a:miter lim="800000"/>
            <a:headEnd/>
            <a:tailEnd/>
          </a:ln>
          <a:effectLst/>
        </p:spPr>
        <p:txBody>
          <a:bodyPr lIns="72000" tIns="360043" rIns="0" bIns="0"/>
          <a:lstStyle/>
          <a:p>
            <a:pPr marL="92075" indent="-92075" defTabSz="914400">
              <a:lnSpc>
                <a:spcPct val="90000"/>
              </a:lnSpc>
              <a:spcBef>
                <a:spcPct val="25000"/>
              </a:spcBef>
            </a:pPr>
            <a:endParaRPr lang="en-US" sz="1200" dirty="0">
              <a:latin typeface="Tele-GroteskNor" pitchFamily="2" charset="0"/>
              <a:cs typeface="Arial Unicode MS"/>
            </a:endParaRPr>
          </a:p>
        </p:txBody>
      </p:sp>
      <p:graphicFrame>
        <p:nvGraphicFramePr>
          <p:cNvPr id="27" name="Tabelle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52349281"/>
              </p:ext>
            </p:extLst>
          </p:nvPr>
        </p:nvGraphicFramePr>
        <p:xfrm>
          <a:off x="2106028" y="1022915"/>
          <a:ext cx="4875685" cy="583384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265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4607438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35591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290062">
                <a:tc>
                  <a:txBody>
                    <a:bodyPr/>
                    <a:lstStyle/>
                    <a:p>
                      <a:pPr marL="0" indent="0" algn="l" eaLnBrk="1">
                        <a:lnSpc>
                          <a:spcPct val="90000"/>
                        </a:lnSpc>
                        <a:buClr>
                          <a:schemeClr val="tx1"/>
                        </a:buClr>
                        <a:buSzPct val="70000"/>
                        <a:buFont typeface="Wingdings 2" panose="05020102010507070707" pitchFamily="18" charset="2"/>
                        <a:buNone/>
                      </a:pPr>
                      <a:endParaRPr lang="en-US" sz="2100" b="0" dirty="0">
                        <a:solidFill>
                          <a:schemeClr val="tx2"/>
                        </a:solidFill>
                        <a:latin typeface="Tele-GroteskFet" pitchFamily="2" charset="0"/>
                      </a:endParaRPr>
                    </a:p>
                  </a:txBody>
                  <a:tcPr marL="0" marR="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90000"/>
                        </a:lnSpc>
                        <a:buClr>
                          <a:schemeClr val="tx1"/>
                        </a:buClr>
                        <a:buSzPct val="70000"/>
                        <a:buFont typeface="Wingdings 2" panose="05020102010507070707" pitchFamily="18" charset="2"/>
                        <a:buNone/>
                      </a:pPr>
                      <a:r>
                        <a:rPr lang="hu-HU" sz="2100" b="0" dirty="0" err="1" smtClean="0">
                          <a:solidFill>
                            <a:schemeClr val="bg1"/>
                          </a:solidFill>
                          <a:latin typeface="Tele-GroteskFet" pitchFamily="2" charset="0"/>
                        </a:rPr>
                        <a:t>Description</a:t>
                      </a:r>
                      <a:endParaRPr lang="en-US" sz="2100" b="0" dirty="0">
                        <a:solidFill>
                          <a:schemeClr val="bg1"/>
                        </a:solidFill>
                        <a:latin typeface="Tele-GroteskFet" pitchFamily="2" charset="0"/>
                      </a:endParaRPr>
                    </a:p>
                  </a:txBody>
                  <a:tcPr marL="94489" marR="31496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eaLnBrk="1">
                        <a:lnSpc>
                          <a:spcPct val="90000"/>
                        </a:lnSpc>
                        <a:buClr>
                          <a:schemeClr val="tx1"/>
                        </a:buClr>
                        <a:buSzPct val="70000"/>
                        <a:buFont typeface="Wingdings 2" panose="05020102010507070707" pitchFamily="18" charset="2"/>
                        <a:buNone/>
                      </a:pPr>
                      <a:endParaRPr lang="en-US" sz="2100" b="0" dirty="0">
                        <a:solidFill>
                          <a:schemeClr val="tx2"/>
                        </a:solidFill>
                        <a:latin typeface="Tele-GroteskFet" pitchFamily="2" charset="0"/>
                      </a:endParaRPr>
                    </a:p>
                  </a:txBody>
                  <a:tcPr marL="0" marR="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97468">
                <a:tc>
                  <a:txBody>
                    <a:bodyPr/>
                    <a:lstStyle/>
                    <a:p>
                      <a:pPr marL="0" indent="0" algn="l" eaLnBrk="1">
                        <a:buClr>
                          <a:schemeClr val="tx1"/>
                        </a:buClr>
                        <a:buSzPct val="70000"/>
                        <a:buFont typeface="Wingdings 2" panose="05020102010507070707" pitchFamily="18" charset="2"/>
                        <a:buNone/>
                      </a:pPr>
                      <a:endParaRPr lang="en-US" sz="400" b="0" dirty="0">
                        <a:solidFill>
                          <a:schemeClr val="tx2"/>
                        </a:solidFill>
                        <a:latin typeface="Tele-GroteskFet" pitchFamily="2" charset="0"/>
                      </a:endParaRPr>
                    </a:p>
                  </a:txBody>
                  <a:tcPr marL="0" marR="0" marT="0" marB="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eaLnBrk="1">
                        <a:buClr>
                          <a:schemeClr val="tx1"/>
                        </a:buClr>
                        <a:buSzPct val="70000"/>
                        <a:buFont typeface="Wingdings 2" panose="05020102010507070707" pitchFamily="18" charset="2"/>
                        <a:buNone/>
                      </a:pPr>
                      <a:endParaRPr lang="en-US" sz="400" b="0" dirty="0">
                        <a:solidFill>
                          <a:schemeClr val="bg1"/>
                        </a:solidFill>
                        <a:latin typeface="Tele-GroteskFet" pitchFamily="2" charset="0"/>
                      </a:endParaRPr>
                    </a:p>
                  </a:txBody>
                  <a:tcPr marL="94489" marR="31496" marT="0" marB="42006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eaLnBrk="1">
                        <a:buClr>
                          <a:schemeClr val="tx1"/>
                        </a:buClr>
                        <a:buSzPct val="70000"/>
                        <a:buFont typeface="Wingdings 2" panose="05020102010507070707" pitchFamily="18" charset="2"/>
                        <a:buNone/>
                      </a:pPr>
                      <a:endParaRPr lang="en-US" sz="400" b="0" dirty="0">
                        <a:solidFill>
                          <a:schemeClr val="tx2"/>
                        </a:solidFill>
                        <a:latin typeface="Tele-GroteskFet" pitchFamily="2" charset="0"/>
                      </a:endParaRPr>
                    </a:p>
                  </a:txBody>
                  <a:tcPr marL="0" marR="0" marT="0" marB="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779833">
                <a:tc>
                  <a:txBody>
                    <a:bodyPr/>
                    <a:lstStyle/>
                    <a:p>
                      <a:pPr marL="217488" indent="-217488" algn="l" eaLnBrk="1">
                        <a:lnSpc>
                          <a:spcPct val="104000"/>
                        </a:lnSpc>
                        <a:spcBef>
                          <a:spcPts val="300"/>
                        </a:spcBef>
                        <a:buClr>
                          <a:schemeClr val="tx1"/>
                        </a:buClr>
                        <a:buSzPct val="70000"/>
                        <a:buFont typeface="Wingdings 2" panose="05020102010507070707" pitchFamily="18" charset="2"/>
                        <a:buChar char="¡"/>
                      </a:pPr>
                      <a:endParaRPr lang="en-US" sz="1900" dirty="0">
                        <a:solidFill>
                          <a:schemeClr val="tx1"/>
                        </a:solidFill>
                        <a:latin typeface="Tele-GroteskNor" pitchFamily="2" charset="0"/>
                      </a:endParaRPr>
                    </a:p>
                  </a:txBody>
                  <a:tcPr marL="0" marR="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17488" indent="-217488" algn="l">
                        <a:lnSpc>
                          <a:spcPct val="104000"/>
                        </a:lnSpc>
                        <a:spcBef>
                          <a:spcPts val="300"/>
                        </a:spcBef>
                        <a:buClr>
                          <a:schemeClr val="tx1"/>
                        </a:buClr>
                        <a:buSzPct val="70000"/>
                        <a:buFont typeface="Wingdings 2" panose="05020102010507070707" pitchFamily="18" charset="2"/>
                        <a:buChar char="¡"/>
                      </a:pPr>
                      <a:r>
                        <a:rPr lang="en-US" sz="1600" noProof="0" dirty="0" smtClean="0">
                          <a:solidFill>
                            <a:schemeClr val="tx1"/>
                          </a:solidFill>
                          <a:latin typeface="Tele-GroteskNor" pitchFamily="2" charset="0"/>
                        </a:rPr>
                        <a:t>Managing  Resourcing Forecast Report</a:t>
                      </a:r>
                    </a:p>
                    <a:p>
                      <a:pPr marL="217488" indent="-217488" algn="l">
                        <a:lnSpc>
                          <a:spcPct val="104000"/>
                        </a:lnSpc>
                        <a:spcBef>
                          <a:spcPts val="300"/>
                        </a:spcBef>
                        <a:buClr>
                          <a:schemeClr val="tx1"/>
                        </a:buClr>
                        <a:buSzPct val="70000"/>
                        <a:buFont typeface="Wingdings 2" panose="05020102010507070707" pitchFamily="18" charset="2"/>
                        <a:buChar char="¡"/>
                      </a:pPr>
                      <a:r>
                        <a:rPr lang="en-US" sz="1600" noProof="0" dirty="0" smtClean="0">
                          <a:solidFill>
                            <a:schemeClr val="tx1"/>
                          </a:solidFill>
                          <a:latin typeface="Tele-GroteskNor" pitchFamily="2" charset="0"/>
                        </a:rPr>
                        <a:t>ReM Tool entries</a:t>
                      </a:r>
                      <a:r>
                        <a:rPr lang="en-US" sz="1600" baseline="0" noProof="0" dirty="0" smtClean="0">
                          <a:solidFill>
                            <a:schemeClr val="tx1"/>
                          </a:solidFill>
                          <a:latin typeface="Tele-GroteskNor" pitchFamily="2" charset="0"/>
                        </a:rPr>
                        <a:t> for new &amp; closing assignments</a:t>
                      </a:r>
                      <a:endParaRPr lang="en-US" sz="1600" noProof="0" dirty="0" smtClean="0">
                        <a:solidFill>
                          <a:schemeClr val="tx1"/>
                        </a:solidFill>
                        <a:latin typeface="Tele-GroteskNor" pitchFamily="2" charset="0"/>
                      </a:endParaRPr>
                    </a:p>
                    <a:p>
                      <a:pPr marL="217488" indent="-217488" algn="l">
                        <a:lnSpc>
                          <a:spcPct val="104000"/>
                        </a:lnSpc>
                        <a:spcBef>
                          <a:spcPts val="300"/>
                        </a:spcBef>
                        <a:buClr>
                          <a:schemeClr val="tx1"/>
                        </a:buClr>
                        <a:buSzPct val="70000"/>
                        <a:buFont typeface="Wingdings 2" panose="05020102010507070707" pitchFamily="18" charset="2"/>
                        <a:buChar char="¡"/>
                      </a:pPr>
                      <a:r>
                        <a:rPr lang="en-US" sz="1600" noProof="0" dirty="0" smtClean="0">
                          <a:solidFill>
                            <a:schemeClr val="tx1"/>
                          </a:solidFill>
                          <a:latin typeface="Tele-GroteskNor" pitchFamily="2" charset="0"/>
                        </a:rPr>
                        <a:t>Organizing  Resourcing Reviews</a:t>
                      </a:r>
                    </a:p>
                    <a:p>
                      <a:pPr marL="217488" indent="-217488" algn="l">
                        <a:lnSpc>
                          <a:spcPct val="104000"/>
                        </a:lnSpc>
                        <a:spcBef>
                          <a:spcPts val="300"/>
                        </a:spcBef>
                        <a:buClr>
                          <a:schemeClr val="tx1"/>
                        </a:buClr>
                        <a:buSzPct val="70000"/>
                        <a:buFont typeface="Wingdings 2" panose="05020102010507070707" pitchFamily="18" charset="2"/>
                        <a:buChar char="¡"/>
                      </a:pPr>
                      <a:r>
                        <a:rPr lang="en-US" sz="1600" noProof="0" dirty="0" smtClean="0">
                          <a:solidFill>
                            <a:schemeClr val="tx1"/>
                          </a:solidFill>
                          <a:latin typeface="Tele-GroteskNor" pitchFamily="2" charset="0"/>
                        </a:rPr>
                        <a:t>Time &amp; Cost Tracking </a:t>
                      </a:r>
                    </a:p>
                    <a:p>
                      <a:pPr marL="217488" indent="-217488" algn="l">
                        <a:lnSpc>
                          <a:spcPct val="104000"/>
                        </a:lnSpc>
                        <a:spcBef>
                          <a:spcPts val="300"/>
                        </a:spcBef>
                        <a:buClr>
                          <a:schemeClr val="tx1"/>
                        </a:buClr>
                        <a:buSzPct val="70000"/>
                        <a:buFont typeface="Wingdings 2" panose="05020102010507070707" pitchFamily="18" charset="2"/>
                        <a:buChar char="¡"/>
                      </a:pPr>
                      <a:r>
                        <a:rPr lang="en-US" sz="1600" noProof="0" dirty="0" smtClean="0">
                          <a:solidFill>
                            <a:schemeClr val="tx1"/>
                          </a:solidFill>
                          <a:latin typeface="Tele-GroteskNor" pitchFamily="2" charset="0"/>
                        </a:rPr>
                        <a:t>Collecting source data for Project Reporting</a:t>
                      </a:r>
                    </a:p>
                    <a:p>
                      <a:pPr marL="217488" indent="-217488" algn="l">
                        <a:lnSpc>
                          <a:spcPct val="104000"/>
                        </a:lnSpc>
                        <a:spcBef>
                          <a:spcPts val="300"/>
                        </a:spcBef>
                        <a:buClr>
                          <a:schemeClr val="tx1"/>
                        </a:buClr>
                        <a:buSzPct val="70000"/>
                        <a:buFont typeface="Wingdings 2" panose="05020102010507070707" pitchFamily="18" charset="2"/>
                        <a:buChar char="¡"/>
                      </a:pPr>
                      <a:r>
                        <a:rPr lang="en-US" sz="1600" noProof="0" dirty="0" smtClean="0">
                          <a:solidFill>
                            <a:schemeClr val="tx1"/>
                          </a:solidFill>
                          <a:latin typeface="Tele-GroteskNor" pitchFamily="2" charset="0"/>
                        </a:rPr>
                        <a:t>Updating Risks &amp; Issues &amp;</a:t>
                      </a:r>
                      <a:r>
                        <a:rPr lang="en-US" sz="1600" baseline="0" noProof="0" dirty="0" smtClean="0">
                          <a:solidFill>
                            <a:schemeClr val="tx1"/>
                          </a:solidFill>
                          <a:latin typeface="Tele-GroteskNor" pitchFamily="2" charset="0"/>
                        </a:rPr>
                        <a:t> Action Items Log</a:t>
                      </a:r>
                      <a:endParaRPr lang="en-US" sz="1600" noProof="0" dirty="0" smtClean="0">
                        <a:solidFill>
                          <a:schemeClr val="tx1"/>
                        </a:solidFill>
                        <a:latin typeface="Tele-GroteskNor" pitchFamily="2" charset="0"/>
                      </a:endParaRPr>
                    </a:p>
                  </a:txBody>
                  <a:tcPr marL="94489" marR="0" marT="84012" marB="84012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17488" indent="-217488" algn="l" eaLnBrk="1">
                        <a:lnSpc>
                          <a:spcPct val="104000"/>
                        </a:lnSpc>
                        <a:spcBef>
                          <a:spcPts val="300"/>
                        </a:spcBef>
                        <a:buClr>
                          <a:schemeClr val="tx1"/>
                        </a:buClr>
                        <a:buSzPct val="70000"/>
                        <a:buFont typeface="Wingdings 2" panose="05020102010507070707" pitchFamily="18" charset="2"/>
                        <a:buChar char="¡"/>
                      </a:pPr>
                      <a:endParaRPr lang="en-US" sz="2100" dirty="0">
                        <a:solidFill>
                          <a:schemeClr val="tx1"/>
                        </a:solidFill>
                        <a:latin typeface="Tele-GroteskNor" pitchFamily="2" charset="0"/>
                      </a:endParaRPr>
                    </a:p>
                  </a:txBody>
                  <a:tcPr marL="0" marR="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055974">
                <a:tc>
                  <a:txBody>
                    <a:bodyPr/>
                    <a:lstStyle/>
                    <a:p>
                      <a:pPr marL="217488" indent="-217488" algn="l" eaLnBrk="1">
                        <a:lnSpc>
                          <a:spcPct val="104000"/>
                        </a:lnSpc>
                        <a:spcBef>
                          <a:spcPts val="300"/>
                        </a:spcBef>
                        <a:buClr>
                          <a:schemeClr val="tx1"/>
                        </a:buClr>
                        <a:buSzPct val="70000"/>
                        <a:buFont typeface="Wingdings 2" panose="05020102010507070707" pitchFamily="18" charset="2"/>
                        <a:buChar char="¡"/>
                      </a:pPr>
                      <a:endParaRPr lang="en-US" sz="1900" dirty="0">
                        <a:solidFill>
                          <a:schemeClr val="tx1"/>
                        </a:solidFill>
                        <a:latin typeface="Tele-GroteskNor" pitchFamily="2" charset="0"/>
                      </a:endParaRPr>
                    </a:p>
                  </a:txBody>
                  <a:tcPr marL="0" marR="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17488" indent="-217488" algn="l">
                        <a:lnSpc>
                          <a:spcPct val="104000"/>
                        </a:lnSpc>
                        <a:spcBef>
                          <a:spcPts val="300"/>
                        </a:spcBef>
                        <a:buClr>
                          <a:schemeClr val="tx1"/>
                        </a:buClr>
                        <a:buSzPct val="70000"/>
                        <a:buFont typeface="Wingdings 2" panose="05020102010507070707" pitchFamily="18" charset="2"/>
                        <a:buChar char="¡"/>
                      </a:pPr>
                      <a:r>
                        <a:rPr lang="en-US" sz="1600" noProof="0" dirty="0" smtClean="0">
                          <a:solidFill>
                            <a:schemeClr val="tx1"/>
                          </a:solidFill>
                          <a:latin typeface="Tele-GroteskNor" pitchFamily="2" charset="0"/>
                        </a:rPr>
                        <a:t>Project</a:t>
                      </a:r>
                      <a:r>
                        <a:rPr lang="en-US" sz="1600" baseline="0" noProof="0" dirty="0" smtClean="0">
                          <a:solidFill>
                            <a:schemeClr val="tx1"/>
                          </a:solidFill>
                          <a:latin typeface="Tele-GroteskNor" pitchFamily="2" charset="0"/>
                        </a:rPr>
                        <a:t> Organization Chart</a:t>
                      </a:r>
                    </a:p>
                    <a:p>
                      <a:pPr marL="217488" indent="-217488" algn="l">
                        <a:lnSpc>
                          <a:spcPct val="104000"/>
                        </a:lnSpc>
                        <a:spcBef>
                          <a:spcPts val="300"/>
                        </a:spcBef>
                        <a:buClr>
                          <a:schemeClr val="tx1"/>
                        </a:buClr>
                        <a:buSzPct val="70000"/>
                        <a:buFont typeface="Wingdings 2" panose="05020102010507070707" pitchFamily="18" charset="2"/>
                        <a:buChar char="¡"/>
                      </a:pPr>
                      <a:r>
                        <a:rPr lang="en-US" sz="1600" baseline="0" noProof="0" dirty="0" smtClean="0">
                          <a:solidFill>
                            <a:schemeClr val="tx1"/>
                          </a:solidFill>
                          <a:latin typeface="Tele-GroteskNor" pitchFamily="2" charset="0"/>
                        </a:rPr>
                        <a:t>Building out Communication Channels</a:t>
                      </a:r>
                      <a:endParaRPr lang="en-US" sz="1600" noProof="0" dirty="0" smtClean="0">
                        <a:solidFill>
                          <a:schemeClr val="tx1"/>
                        </a:solidFill>
                        <a:latin typeface="Tele-GroteskNor" pitchFamily="2" charset="0"/>
                      </a:endParaRPr>
                    </a:p>
                    <a:p>
                      <a:pPr marL="217488" indent="-217488" algn="l">
                        <a:lnSpc>
                          <a:spcPct val="104000"/>
                        </a:lnSpc>
                        <a:spcBef>
                          <a:spcPts val="300"/>
                        </a:spcBef>
                        <a:buClr>
                          <a:schemeClr val="tx1"/>
                        </a:buClr>
                        <a:buSzPct val="70000"/>
                        <a:buFont typeface="Wingdings 2" panose="05020102010507070707" pitchFamily="18" charset="2"/>
                        <a:buChar char="¡"/>
                      </a:pPr>
                      <a:r>
                        <a:rPr lang="en-US" sz="1600" noProof="0" dirty="0" smtClean="0">
                          <a:solidFill>
                            <a:schemeClr val="tx1"/>
                          </a:solidFill>
                          <a:latin typeface="Tele-GroteskNor" pitchFamily="2" charset="0"/>
                        </a:rPr>
                        <a:t>Collecting source data for Project Reporting</a:t>
                      </a:r>
                    </a:p>
                    <a:p>
                      <a:pPr marL="217488" indent="-217488" algn="l">
                        <a:lnSpc>
                          <a:spcPct val="104000"/>
                        </a:lnSpc>
                        <a:spcBef>
                          <a:spcPts val="300"/>
                        </a:spcBef>
                        <a:buClr>
                          <a:schemeClr val="tx1"/>
                        </a:buClr>
                        <a:buSzPct val="70000"/>
                        <a:buFont typeface="Wingdings 2" panose="05020102010507070707" pitchFamily="18" charset="2"/>
                        <a:buChar char="¡"/>
                      </a:pPr>
                      <a:r>
                        <a:rPr lang="en-US" sz="1600" noProof="0" dirty="0" smtClean="0">
                          <a:solidFill>
                            <a:schemeClr val="tx1"/>
                          </a:solidFill>
                          <a:latin typeface="Tele-GroteskNor" pitchFamily="2" charset="0"/>
                        </a:rPr>
                        <a:t>Updating Risks &amp; Issues &amp;</a:t>
                      </a:r>
                      <a:r>
                        <a:rPr lang="en-US" sz="1600" baseline="0" noProof="0" dirty="0" smtClean="0">
                          <a:solidFill>
                            <a:schemeClr val="tx1"/>
                          </a:solidFill>
                          <a:latin typeface="Tele-GroteskNor" pitchFamily="2" charset="0"/>
                        </a:rPr>
                        <a:t> Action Items Log</a:t>
                      </a:r>
                      <a:endParaRPr lang="en-US" sz="1600" noProof="0" dirty="0" smtClean="0">
                        <a:solidFill>
                          <a:schemeClr val="tx1"/>
                        </a:solidFill>
                        <a:latin typeface="Tele-GroteskNor" pitchFamily="2" charset="0"/>
                      </a:endParaRPr>
                    </a:p>
                    <a:p>
                      <a:pPr marL="217488" indent="-217488" algn="l">
                        <a:lnSpc>
                          <a:spcPct val="104000"/>
                        </a:lnSpc>
                        <a:spcBef>
                          <a:spcPts val="300"/>
                        </a:spcBef>
                        <a:buClr>
                          <a:schemeClr val="tx1"/>
                        </a:buClr>
                        <a:buSzPct val="70000"/>
                        <a:buFont typeface="Wingdings 2" panose="05020102010507070707" pitchFamily="18" charset="2"/>
                        <a:buChar char="¡"/>
                      </a:pPr>
                      <a:r>
                        <a:rPr lang="en-US" sz="1600" noProof="0" dirty="0" smtClean="0">
                          <a:solidFill>
                            <a:schemeClr val="tx1"/>
                          </a:solidFill>
                          <a:latin typeface="Tele-GroteskNor" pitchFamily="2" charset="0"/>
                        </a:rPr>
                        <a:t>Meeting Minutes</a:t>
                      </a:r>
                    </a:p>
                    <a:p>
                      <a:pPr marL="217488" indent="-217488" algn="l">
                        <a:lnSpc>
                          <a:spcPct val="104000"/>
                        </a:lnSpc>
                        <a:spcBef>
                          <a:spcPts val="300"/>
                        </a:spcBef>
                        <a:buClr>
                          <a:schemeClr val="tx1"/>
                        </a:buClr>
                        <a:buSzPct val="70000"/>
                        <a:buFont typeface="Wingdings 2" panose="05020102010507070707" pitchFamily="18" charset="2"/>
                        <a:buChar char="¡"/>
                      </a:pPr>
                      <a:r>
                        <a:rPr lang="en-US" sz="1600" noProof="0" dirty="0" smtClean="0">
                          <a:solidFill>
                            <a:schemeClr val="tx1"/>
                          </a:solidFill>
                          <a:latin typeface="Tele-GroteskNor" pitchFamily="2" charset="0"/>
                        </a:rPr>
                        <a:t>Monitoring</a:t>
                      </a:r>
                      <a:r>
                        <a:rPr lang="en-US" sz="1600" baseline="0" noProof="0" dirty="0" smtClean="0">
                          <a:solidFill>
                            <a:schemeClr val="tx1"/>
                          </a:solidFill>
                          <a:latin typeface="Tele-GroteskNor" pitchFamily="2" charset="0"/>
                        </a:rPr>
                        <a:t> Changes &amp; updating Project Data</a:t>
                      </a:r>
                    </a:p>
                    <a:p>
                      <a:pPr marL="217488" indent="-217488" algn="l">
                        <a:lnSpc>
                          <a:spcPct val="104000"/>
                        </a:lnSpc>
                        <a:spcBef>
                          <a:spcPts val="300"/>
                        </a:spcBef>
                        <a:buClr>
                          <a:schemeClr val="tx1"/>
                        </a:buClr>
                        <a:buSzPct val="70000"/>
                        <a:buFont typeface="Wingdings 2" panose="05020102010507070707" pitchFamily="18" charset="2"/>
                        <a:buChar char="¡"/>
                      </a:pPr>
                      <a:r>
                        <a:rPr lang="en-US" sz="1600" baseline="0" noProof="0" dirty="0" smtClean="0">
                          <a:solidFill>
                            <a:schemeClr val="tx1"/>
                          </a:solidFill>
                          <a:latin typeface="Tele-GroteskNor" pitchFamily="2" charset="0"/>
                        </a:rPr>
                        <a:t>Project Portfolio – central storage</a:t>
                      </a:r>
                    </a:p>
                  </a:txBody>
                  <a:tcPr marL="94489" marR="0" marT="84012" marB="84012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17488" indent="-217488" algn="l" eaLnBrk="1">
                        <a:lnSpc>
                          <a:spcPct val="104000"/>
                        </a:lnSpc>
                        <a:spcBef>
                          <a:spcPts val="300"/>
                        </a:spcBef>
                        <a:buClr>
                          <a:schemeClr val="tx1"/>
                        </a:buClr>
                        <a:buSzPct val="70000"/>
                        <a:buFont typeface="Wingdings 2" panose="05020102010507070707" pitchFamily="18" charset="2"/>
                        <a:buChar char="¡"/>
                      </a:pPr>
                      <a:endParaRPr lang="en-US" sz="2100" dirty="0">
                        <a:solidFill>
                          <a:schemeClr val="tx1"/>
                        </a:solidFill>
                        <a:latin typeface="Tele-GroteskNor" pitchFamily="2" charset="0"/>
                      </a:endParaRPr>
                    </a:p>
                  </a:txBody>
                  <a:tcPr marL="0" marR="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915344">
                <a:tc>
                  <a:txBody>
                    <a:bodyPr/>
                    <a:lstStyle/>
                    <a:p>
                      <a:pPr marL="217488" indent="-217488" algn="l" eaLnBrk="1">
                        <a:lnSpc>
                          <a:spcPct val="104000"/>
                        </a:lnSpc>
                        <a:spcBef>
                          <a:spcPts val="300"/>
                        </a:spcBef>
                        <a:buClr>
                          <a:schemeClr val="tx1"/>
                        </a:buClr>
                        <a:buSzPct val="70000"/>
                        <a:buFont typeface="Wingdings 2" panose="05020102010507070707" pitchFamily="18" charset="2"/>
                        <a:buChar char="¡"/>
                      </a:pPr>
                      <a:endParaRPr lang="en-US" sz="1900" dirty="0">
                        <a:solidFill>
                          <a:schemeClr val="tx1"/>
                        </a:solidFill>
                        <a:latin typeface="Tele-GroteskNor" pitchFamily="2" charset="0"/>
                      </a:endParaRPr>
                    </a:p>
                  </a:txBody>
                  <a:tcPr marL="0" marR="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17488" marR="0" indent="-217488" algn="l" defTabSz="457171" rtl="0" eaLnBrk="1" fontAlgn="auto" latinLnBrk="0" hangingPunct="1">
                        <a:lnSpc>
                          <a:spcPct val="104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70000"/>
                        <a:buFont typeface="Wingdings 2" panose="05020102010507070707" pitchFamily="18" charset="2"/>
                        <a:buChar char="¡"/>
                        <a:tabLst/>
                        <a:defRPr/>
                      </a:pPr>
                      <a:r>
                        <a:rPr lang="en-US" sz="1600" noProof="0" dirty="0" smtClean="0"/>
                        <a:t>All additionals to be requested by the Stream Lead</a:t>
                      </a:r>
                    </a:p>
                    <a:p>
                      <a:pPr marL="217488" marR="0" indent="-217488" algn="l" defTabSz="457171" rtl="0" eaLnBrk="1" fontAlgn="auto" latinLnBrk="0" hangingPunct="1">
                        <a:lnSpc>
                          <a:spcPct val="104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70000"/>
                        <a:buFont typeface="Wingdings 2" panose="05020102010507070707" pitchFamily="18" charset="2"/>
                        <a:buChar char="¡"/>
                        <a:tabLst/>
                        <a:defRPr/>
                      </a:pPr>
                      <a:r>
                        <a:rPr lang="en-US" sz="1600" noProof="0" dirty="0" smtClean="0"/>
                        <a:t>Creating an overview of project specific processes, if necessary - MS Visio</a:t>
                      </a:r>
                      <a:endParaRPr lang="en-US" sz="1600" noProof="0" dirty="0"/>
                    </a:p>
                  </a:txBody>
                  <a:tcPr marL="94489" marR="0" marT="84012" marB="84012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17488" indent="-217488" algn="l" eaLnBrk="1">
                        <a:lnSpc>
                          <a:spcPct val="104000"/>
                        </a:lnSpc>
                        <a:spcBef>
                          <a:spcPts val="300"/>
                        </a:spcBef>
                        <a:buClr>
                          <a:schemeClr val="tx1"/>
                        </a:buClr>
                        <a:buSzPct val="70000"/>
                        <a:buFont typeface="Wingdings 2" panose="05020102010507070707" pitchFamily="18" charset="2"/>
                        <a:buChar char="¡"/>
                      </a:pPr>
                      <a:endParaRPr lang="en-US" sz="2100" dirty="0">
                        <a:solidFill>
                          <a:schemeClr val="tx1"/>
                        </a:solidFill>
                        <a:latin typeface="Tele-GroteskNor" pitchFamily="2" charset="0"/>
                      </a:endParaRPr>
                    </a:p>
                  </a:txBody>
                  <a:tcPr marL="0" marR="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399127">
                <a:tc>
                  <a:txBody>
                    <a:bodyPr/>
                    <a:lstStyle/>
                    <a:p>
                      <a:pPr marL="217488" indent="-217488" algn="l" eaLnBrk="1">
                        <a:lnSpc>
                          <a:spcPct val="104000"/>
                        </a:lnSpc>
                        <a:spcBef>
                          <a:spcPts val="300"/>
                        </a:spcBef>
                        <a:buClr>
                          <a:schemeClr val="tx1"/>
                        </a:buClr>
                        <a:buSzPct val="70000"/>
                        <a:buFont typeface="Wingdings 2" panose="05020102010507070707" pitchFamily="18" charset="2"/>
                        <a:buChar char="¡"/>
                      </a:pPr>
                      <a:endParaRPr lang="en-US" sz="1900" dirty="0">
                        <a:solidFill>
                          <a:schemeClr val="tx1"/>
                        </a:solidFill>
                        <a:latin typeface="Tele-GroteskNor" pitchFamily="2" charset="0"/>
                      </a:endParaRPr>
                    </a:p>
                  </a:txBody>
                  <a:tcPr marL="0" marR="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4000"/>
                        </a:lnSpc>
                        <a:spcBef>
                          <a:spcPts val="300"/>
                        </a:spcBef>
                        <a:buClr>
                          <a:schemeClr val="tx1"/>
                        </a:buClr>
                        <a:buSzPct val="70000"/>
                        <a:buFont typeface="Wingdings 2" panose="05020102010507070707" pitchFamily="18" charset="2"/>
                        <a:buNone/>
                      </a:pPr>
                      <a:endParaRPr lang="en-US" sz="1600" dirty="0">
                        <a:solidFill>
                          <a:schemeClr val="tx1"/>
                        </a:solidFill>
                        <a:latin typeface="Tele-GroteskNor" pitchFamily="2" charset="0"/>
                      </a:endParaRPr>
                    </a:p>
                  </a:txBody>
                  <a:tcPr marL="94489" marR="0" marT="84012" marB="84012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17488" indent="-217488" algn="l" eaLnBrk="1">
                        <a:lnSpc>
                          <a:spcPct val="104000"/>
                        </a:lnSpc>
                        <a:spcBef>
                          <a:spcPts val="300"/>
                        </a:spcBef>
                        <a:buClr>
                          <a:schemeClr val="tx1"/>
                        </a:buClr>
                        <a:buSzPct val="70000"/>
                        <a:buFont typeface="Wingdings 2" panose="05020102010507070707" pitchFamily="18" charset="2"/>
                        <a:buChar char="¡"/>
                      </a:pPr>
                      <a:endParaRPr lang="en-US" sz="2100" dirty="0">
                        <a:solidFill>
                          <a:schemeClr val="tx1"/>
                        </a:solidFill>
                        <a:latin typeface="Tele-GroteskNor" pitchFamily="2" charset="0"/>
                      </a:endParaRPr>
                    </a:p>
                  </a:txBody>
                  <a:tcPr marL="0" marR="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12" name="Foliennummernplatzhalter 1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B82B61-49DC-4937-83D9-6C97F6C89D5B}" type="slidenum">
              <a:rPr lang="en-US" smtClean="0"/>
              <a:pPr/>
              <a:t>18</a:t>
            </a:fld>
            <a:endParaRPr lang="en-US" dirty="0"/>
          </a:p>
        </p:txBody>
      </p:sp>
      <p:pic>
        <p:nvPicPr>
          <p:cNvPr id="17410" name="Picture 2" descr="Image result for trackin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0001" y="2227342"/>
            <a:ext cx="1293584" cy="862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12" name="Picture 4" descr="Image result for communication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1517" y="3912714"/>
            <a:ext cx="1030604" cy="10306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14" name="Picture 6" descr="Image result for consultancy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5773" y="5519184"/>
            <a:ext cx="1040818" cy="833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3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47123" y="1622286"/>
            <a:ext cx="1876425" cy="766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9" descr="Image result for project report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27923" y="2613250"/>
            <a:ext cx="3095625" cy="1381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10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42180" y="4146953"/>
            <a:ext cx="2181368" cy="18849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PTE MIK PM1 2018/19-1        -        PMO Basics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3197639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40" name="Picture 8" descr="Image result for pm tools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5575" y="2105380"/>
            <a:ext cx="5106252" cy="28775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92551" name="Rectangle 35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PMO </a:t>
            </a:r>
            <a:r>
              <a:rPr lang="hu-HU" dirty="0" err="1" smtClean="0"/>
              <a:t>Tool-KIT</a:t>
            </a:r>
            <a:r>
              <a:rPr lang="hu-HU" dirty="0" smtClean="0"/>
              <a:t>												2/3</a:t>
            </a:r>
            <a:endParaRPr lang="en-US" dirty="0">
              <a:latin typeface="TeleGrotesk Headline" pitchFamily="2" charset="0"/>
            </a:endParaRPr>
          </a:p>
        </p:txBody>
      </p:sp>
      <p:sp>
        <p:nvSpPr>
          <p:cNvPr id="492550" name="AutoShape 120"/>
          <p:cNvSpPr>
            <a:spLocks noChangeArrowheads="1"/>
          </p:cNvSpPr>
          <p:nvPr/>
        </p:nvSpPr>
        <p:spPr bwMode="auto">
          <a:xfrm>
            <a:off x="303438" y="1344706"/>
            <a:ext cx="1737987" cy="4765638"/>
          </a:xfrm>
          <a:prstGeom prst="rect">
            <a:avLst/>
          </a:prstGeom>
          <a:noFill/>
          <a:ln w="19050" algn="ctr">
            <a:solidFill>
              <a:schemeClr val="tx2"/>
            </a:solidFill>
            <a:miter lim="800000"/>
            <a:headEnd/>
            <a:tailEnd/>
          </a:ln>
        </p:spPr>
        <p:txBody>
          <a:bodyPr lIns="108000" tIns="108000" rIns="0" bIns="0" anchor="t" anchorCtr="0"/>
          <a:lstStyle/>
          <a:p>
            <a:pPr defTabSz="914400">
              <a:lnSpc>
                <a:spcPct val="90000"/>
              </a:lnSpc>
            </a:pPr>
            <a:r>
              <a:rPr lang="hu-HU" sz="1800" dirty="0" smtClean="0">
                <a:solidFill>
                  <a:schemeClr val="tx2"/>
                </a:solidFill>
                <a:latin typeface="Tele-GroteskFet" pitchFamily="2" charset="0"/>
                <a:cs typeface="Arial Unicode MS"/>
              </a:rPr>
              <a:t>GENERAL – TOOL KIT</a:t>
            </a:r>
            <a:endParaRPr lang="en-US" sz="1800" dirty="0">
              <a:solidFill>
                <a:schemeClr val="tx2"/>
              </a:solidFill>
              <a:latin typeface="Tele-GroteskFet" pitchFamily="2" charset="0"/>
              <a:cs typeface="Arial Unicode MS"/>
            </a:endParaRPr>
          </a:p>
        </p:txBody>
      </p:sp>
      <p:sp>
        <p:nvSpPr>
          <p:cNvPr id="492564" name="AutoShape 20"/>
          <p:cNvSpPr>
            <a:spLocks noChangeArrowheads="1"/>
          </p:cNvSpPr>
          <p:nvPr/>
        </p:nvSpPr>
        <p:spPr bwMode="auto">
          <a:xfrm>
            <a:off x="2106027" y="1974277"/>
            <a:ext cx="2454463" cy="4515360"/>
          </a:xfrm>
          <a:prstGeom prst="rect">
            <a:avLst/>
          </a:prstGeom>
          <a:noFill/>
          <a:ln w="38100" algn="ctr">
            <a:noFill/>
            <a:miter lim="800000"/>
            <a:headEnd/>
            <a:tailEnd/>
          </a:ln>
          <a:effectLst/>
        </p:spPr>
        <p:txBody>
          <a:bodyPr lIns="72000" tIns="360043" rIns="0" bIns="0"/>
          <a:lstStyle/>
          <a:p>
            <a:pPr marL="92075" indent="-92075" defTabSz="914400">
              <a:lnSpc>
                <a:spcPct val="90000"/>
              </a:lnSpc>
              <a:spcBef>
                <a:spcPct val="25000"/>
              </a:spcBef>
            </a:pPr>
            <a:endParaRPr lang="en-US" sz="1200" dirty="0">
              <a:latin typeface="Tele-GroteskNor" pitchFamily="2" charset="0"/>
              <a:cs typeface="Arial Unicode MS"/>
            </a:endParaRPr>
          </a:p>
        </p:txBody>
      </p:sp>
      <p:sp>
        <p:nvSpPr>
          <p:cNvPr id="492569" name="AutoShape 20"/>
          <p:cNvSpPr>
            <a:spLocks noChangeArrowheads="1"/>
          </p:cNvSpPr>
          <p:nvPr/>
        </p:nvSpPr>
        <p:spPr bwMode="auto">
          <a:xfrm>
            <a:off x="7316438" y="1974277"/>
            <a:ext cx="2454463" cy="4515360"/>
          </a:xfrm>
          <a:prstGeom prst="rect">
            <a:avLst/>
          </a:prstGeom>
          <a:noFill/>
          <a:ln w="38100" algn="ctr">
            <a:noFill/>
            <a:miter lim="800000"/>
            <a:headEnd/>
            <a:tailEnd/>
          </a:ln>
          <a:effectLst/>
        </p:spPr>
        <p:txBody>
          <a:bodyPr lIns="72000" tIns="360043" rIns="0" bIns="0"/>
          <a:lstStyle/>
          <a:p>
            <a:pPr marL="92075" indent="-92075" defTabSz="914400">
              <a:lnSpc>
                <a:spcPct val="90000"/>
              </a:lnSpc>
              <a:spcBef>
                <a:spcPct val="25000"/>
              </a:spcBef>
            </a:pPr>
            <a:endParaRPr lang="en-US" sz="1200" dirty="0">
              <a:latin typeface="Tele-GroteskNor" pitchFamily="2" charset="0"/>
              <a:cs typeface="Arial Unicode MS"/>
            </a:endParaRPr>
          </a:p>
        </p:txBody>
      </p:sp>
      <p:graphicFrame>
        <p:nvGraphicFramePr>
          <p:cNvPr id="27" name="Tabelle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11242752"/>
              </p:ext>
            </p:extLst>
          </p:nvPr>
        </p:nvGraphicFramePr>
        <p:xfrm>
          <a:off x="2430855" y="1378642"/>
          <a:ext cx="4452830" cy="44113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1151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4207848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23831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212721">
                <a:tc>
                  <a:txBody>
                    <a:bodyPr/>
                    <a:lstStyle/>
                    <a:p>
                      <a:pPr marL="0" indent="0" algn="l" eaLnBrk="1">
                        <a:lnSpc>
                          <a:spcPct val="90000"/>
                        </a:lnSpc>
                        <a:buClr>
                          <a:schemeClr val="tx1"/>
                        </a:buClr>
                        <a:buSzPct val="70000"/>
                        <a:buFont typeface="Wingdings 2" panose="05020102010507070707" pitchFamily="18" charset="2"/>
                        <a:buNone/>
                      </a:pPr>
                      <a:endParaRPr lang="en-US" sz="2100" b="0" dirty="0">
                        <a:solidFill>
                          <a:schemeClr val="tx2"/>
                        </a:solidFill>
                        <a:latin typeface="Tele-GroteskFet" pitchFamily="2" charset="0"/>
                      </a:endParaRPr>
                    </a:p>
                  </a:txBody>
                  <a:tcPr marL="0" marR="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90000"/>
                        </a:lnSpc>
                        <a:buClr>
                          <a:schemeClr val="tx1"/>
                        </a:buClr>
                        <a:buSzPct val="70000"/>
                        <a:buFont typeface="Wingdings 2" panose="05020102010507070707" pitchFamily="18" charset="2"/>
                        <a:buNone/>
                      </a:pPr>
                      <a:r>
                        <a:rPr lang="hu-HU" sz="2100" b="0" dirty="0" err="1" smtClean="0">
                          <a:solidFill>
                            <a:schemeClr val="bg1"/>
                          </a:solidFill>
                          <a:latin typeface="Tele-GroteskFet" pitchFamily="2" charset="0"/>
                        </a:rPr>
                        <a:t>Description</a:t>
                      </a:r>
                      <a:endParaRPr lang="en-US" sz="2100" b="0" dirty="0">
                        <a:solidFill>
                          <a:schemeClr val="bg1"/>
                        </a:solidFill>
                        <a:latin typeface="Tele-GroteskFet" pitchFamily="2" charset="0"/>
                      </a:endParaRPr>
                    </a:p>
                  </a:txBody>
                  <a:tcPr marL="94489" marR="31496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eaLnBrk="1">
                        <a:lnSpc>
                          <a:spcPct val="90000"/>
                        </a:lnSpc>
                        <a:buClr>
                          <a:schemeClr val="tx1"/>
                        </a:buClr>
                        <a:buSzPct val="70000"/>
                        <a:buFont typeface="Wingdings 2" panose="05020102010507070707" pitchFamily="18" charset="2"/>
                        <a:buNone/>
                      </a:pPr>
                      <a:endParaRPr lang="en-US" sz="2100" b="0" dirty="0">
                        <a:solidFill>
                          <a:schemeClr val="tx2"/>
                        </a:solidFill>
                        <a:latin typeface="Tele-GroteskFet" pitchFamily="2" charset="0"/>
                      </a:endParaRPr>
                    </a:p>
                  </a:txBody>
                  <a:tcPr marL="0" marR="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76043">
                <a:tc>
                  <a:txBody>
                    <a:bodyPr/>
                    <a:lstStyle/>
                    <a:p>
                      <a:pPr marL="0" indent="0" algn="l" eaLnBrk="1">
                        <a:buClr>
                          <a:schemeClr val="tx1"/>
                        </a:buClr>
                        <a:buSzPct val="70000"/>
                        <a:buFont typeface="Wingdings 2" panose="05020102010507070707" pitchFamily="18" charset="2"/>
                        <a:buNone/>
                      </a:pPr>
                      <a:endParaRPr lang="en-US" sz="400" b="0" dirty="0">
                        <a:solidFill>
                          <a:schemeClr val="tx2"/>
                        </a:solidFill>
                        <a:latin typeface="Tele-GroteskFet" pitchFamily="2" charset="0"/>
                      </a:endParaRPr>
                    </a:p>
                  </a:txBody>
                  <a:tcPr marL="0" marR="0" marT="0" marB="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eaLnBrk="1">
                        <a:buClr>
                          <a:schemeClr val="tx1"/>
                        </a:buClr>
                        <a:buSzPct val="70000"/>
                        <a:buFont typeface="Wingdings 2" panose="05020102010507070707" pitchFamily="18" charset="2"/>
                        <a:buNone/>
                      </a:pPr>
                      <a:endParaRPr lang="en-US" sz="400" b="0" dirty="0">
                        <a:solidFill>
                          <a:schemeClr val="bg1"/>
                        </a:solidFill>
                        <a:latin typeface="Tele-GroteskFet" pitchFamily="2" charset="0"/>
                      </a:endParaRPr>
                    </a:p>
                  </a:txBody>
                  <a:tcPr marL="94489" marR="31496" marT="0" marB="42006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eaLnBrk="1">
                        <a:buClr>
                          <a:schemeClr val="tx1"/>
                        </a:buClr>
                        <a:buSzPct val="70000"/>
                        <a:buFont typeface="Wingdings 2" panose="05020102010507070707" pitchFamily="18" charset="2"/>
                        <a:buNone/>
                      </a:pPr>
                      <a:endParaRPr lang="en-US" sz="400" b="0" dirty="0">
                        <a:solidFill>
                          <a:schemeClr val="tx2"/>
                        </a:solidFill>
                        <a:latin typeface="Tele-GroteskFet" pitchFamily="2" charset="0"/>
                      </a:endParaRPr>
                    </a:p>
                  </a:txBody>
                  <a:tcPr marL="0" marR="0" marT="0" marB="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422848">
                <a:tc>
                  <a:txBody>
                    <a:bodyPr/>
                    <a:lstStyle/>
                    <a:p>
                      <a:pPr marL="217488" indent="-217488" algn="l" eaLnBrk="1">
                        <a:lnSpc>
                          <a:spcPct val="104000"/>
                        </a:lnSpc>
                        <a:spcBef>
                          <a:spcPts val="300"/>
                        </a:spcBef>
                        <a:buClr>
                          <a:schemeClr val="tx1"/>
                        </a:buClr>
                        <a:buSzPct val="70000"/>
                        <a:buFont typeface="Wingdings 2" panose="05020102010507070707" pitchFamily="18" charset="2"/>
                        <a:buChar char="¡"/>
                      </a:pPr>
                      <a:endParaRPr lang="en-US" sz="1900" dirty="0">
                        <a:solidFill>
                          <a:schemeClr val="tx1"/>
                        </a:solidFill>
                        <a:latin typeface="Tele-GroteskNor" pitchFamily="2" charset="0"/>
                      </a:endParaRPr>
                    </a:p>
                  </a:txBody>
                  <a:tcPr marL="0" marR="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17488" indent="-217488" algn="l">
                        <a:lnSpc>
                          <a:spcPct val="104000"/>
                        </a:lnSpc>
                        <a:spcBef>
                          <a:spcPts val="300"/>
                        </a:spcBef>
                        <a:buClr>
                          <a:schemeClr val="tx1"/>
                        </a:buClr>
                        <a:buSzPct val="70000"/>
                        <a:buFont typeface="Wingdings 2" panose="05020102010507070707" pitchFamily="18" charset="2"/>
                        <a:buChar char="¡"/>
                      </a:pPr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Tele-GroteskNor" pitchFamily="2" charset="0"/>
                        </a:rPr>
                        <a:t>New Joiner Form &amp; Kickstart 4 onboarding</a:t>
                      </a:r>
                    </a:p>
                    <a:p>
                      <a:pPr marL="217488" indent="-217488" algn="l">
                        <a:lnSpc>
                          <a:spcPct val="104000"/>
                        </a:lnSpc>
                        <a:spcBef>
                          <a:spcPts val="300"/>
                        </a:spcBef>
                        <a:buClr>
                          <a:schemeClr val="tx1"/>
                        </a:buClr>
                        <a:buSzPct val="70000"/>
                        <a:buFont typeface="Wingdings 2" panose="05020102010507070707" pitchFamily="18" charset="2"/>
                        <a:buChar char="¡"/>
                      </a:pPr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Tele-GroteskNor" pitchFamily="2" charset="0"/>
                        </a:rPr>
                        <a:t>Resource Management Tool </a:t>
                      </a:r>
                    </a:p>
                    <a:p>
                      <a:pPr marL="217488" indent="-217488" algn="l">
                        <a:lnSpc>
                          <a:spcPct val="104000"/>
                        </a:lnSpc>
                        <a:spcBef>
                          <a:spcPts val="300"/>
                        </a:spcBef>
                        <a:buClr>
                          <a:schemeClr val="tx1"/>
                        </a:buClr>
                        <a:buSzPct val="70000"/>
                        <a:buFont typeface="Wingdings 2" panose="05020102010507070707" pitchFamily="18" charset="2"/>
                        <a:buChar char="¡"/>
                      </a:pPr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Tele-GroteskNor" pitchFamily="2" charset="0"/>
                        </a:rPr>
                        <a:t>SharePoint Portal (central documental repository)</a:t>
                      </a:r>
                    </a:p>
                    <a:p>
                      <a:pPr marL="217488" indent="-217488" algn="l">
                        <a:lnSpc>
                          <a:spcPct val="104000"/>
                        </a:lnSpc>
                        <a:spcBef>
                          <a:spcPts val="300"/>
                        </a:spcBef>
                        <a:buClr>
                          <a:schemeClr val="tx1"/>
                        </a:buClr>
                        <a:buSzPct val="70000"/>
                        <a:buFont typeface="Wingdings 2" panose="05020102010507070707" pitchFamily="18" charset="2"/>
                        <a:buChar char="¡"/>
                      </a:pPr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Tele-GroteskNor" pitchFamily="2" charset="0"/>
                        </a:rPr>
                        <a:t>SharePoint Portal (project-specific site)</a:t>
                      </a:r>
                    </a:p>
                    <a:p>
                      <a:pPr marL="217488" indent="-217488" algn="l">
                        <a:lnSpc>
                          <a:spcPct val="104000"/>
                        </a:lnSpc>
                        <a:spcBef>
                          <a:spcPts val="300"/>
                        </a:spcBef>
                        <a:buClr>
                          <a:schemeClr val="tx1"/>
                        </a:buClr>
                        <a:buSzPct val="70000"/>
                        <a:buFont typeface="Wingdings 2" panose="05020102010507070707" pitchFamily="18" charset="2"/>
                        <a:buChar char="¡"/>
                      </a:pPr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Tele-GroteskNor" pitchFamily="2" charset="0"/>
                        </a:rPr>
                        <a:t>Project Knowledge Center </a:t>
                      </a:r>
                    </a:p>
                    <a:p>
                      <a:pPr marL="217488" indent="-217488" algn="l">
                        <a:lnSpc>
                          <a:spcPct val="104000"/>
                        </a:lnSpc>
                        <a:spcBef>
                          <a:spcPts val="300"/>
                        </a:spcBef>
                        <a:buClr>
                          <a:schemeClr val="tx1"/>
                        </a:buClr>
                        <a:buSzPct val="70000"/>
                        <a:buFont typeface="Wingdings 2" panose="05020102010507070707" pitchFamily="18" charset="2"/>
                        <a:buChar char="¡"/>
                      </a:pPr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Tele-GroteskNor" pitchFamily="2" charset="0"/>
                        </a:rPr>
                        <a:t>Expense Tracking Tool</a:t>
                      </a:r>
                    </a:p>
                    <a:p>
                      <a:pPr marL="217488" indent="-217488" algn="l">
                        <a:lnSpc>
                          <a:spcPct val="104000"/>
                        </a:lnSpc>
                        <a:spcBef>
                          <a:spcPts val="300"/>
                        </a:spcBef>
                        <a:buClr>
                          <a:schemeClr val="tx1"/>
                        </a:buClr>
                        <a:buSzPct val="70000"/>
                        <a:buFont typeface="Wingdings 2" panose="05020102010507070707" pitchFamily="18" charset="2"/>
                        <a:buChar char="¡"/>
                      </a:pPr>
                      <a:r>
                        <a:rPr lang="hu-HU" sz="1600" dirty="0" smtClean="0">
                          <a:solidFill>
                            <a:schemeClr val="tx1"/>
                          </a:solidFill>
                          <a:latin typeface="Tele-GroteskNor" pitchFamily="2" charset="0"/>
                        </a:rPr>
                        <a:t>Accounting</a:t>
                      </a:r>
                      <a:r>
                        <a:rPr lang="hu-HU" sz="1600" baseline="0" dirty="0" smtClean="0">
                          <a:solidFill>
                            <a:schemeClr val="tx1"/>
                          </a:solidFill>
                          <a:latin typeface="Tele-GroteskNor" pitchFamily="2" charset="0"/>
                        </a:rPr>
                        <a:t> System</a:t>
                      </a:r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Tele-GroteskNor" pitchFamily="2" charset="0"/>
                        </a:rPr>
                        <a:t> (optionally requested for PMOs)</a:t>
                      </a:r>
                    </a:p>
                    <a:p>
                      <a:pPr marL="217488" indent="-217488" algn="l">
                        <a:lnSpc>
                          <a:spcPct val="104000"/>
                        </a:lnSpc>
                        <a:spcBef>
                          <a:spcPts val="300"/>
                        </a:spcBef>
                        <a:buClr>
                          <a:schemeClr val="tx1"/>
                        </a:buClr>
                        <a:buSzPct val="70000"/>
                        <a:buFont typeface="Wingdings 2" panose="05020102010507070707" pitchFamily="18" charset="2"/>
                        <a:buChar char="¡"/>
                      </a:pPr>
                      <a:r>
                        <a:rPr lang="hu-HU" sz="1600" dirty="0" smtClean="0">
                          <a:solidFill>
                            <a:schemeClr val="tx1"/>
                          </a:solidFill>
                          <a:latin typeface="Tele-GroteskNor" pitchFamily="2" charset="0"/>
                        </a:rPr>
                        <a:t>Customer</a:t>
                      </a:r>
                      <a:r>
                        <a:rPr lang="hu-HU" sz="1600" baseline="0" dirty="0" smtClean="0">
                          <a:solidFill>
                            <a:schemeClr val="tx1"/>
                          </a:solidFill>
                          <a:latin typeface="Tele-GroteskNor" pitchFamily="2" charset="0"/>
                        </a:rPr>
                        <a:t> </a:t>
                      </a:r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Tele-GroteskNor" pitchFamily="2" charset="0"/>
                        </a:rPr>
                        <a:t>Project Reporting Tool </a:t>
                      </a:r>
                    </a:p>
                    <a:p>
                      <a:pPr marL="217488" indent="-217488" algn="l">
                        <a:lnSpc>
                          <a:spcPct val="104000"/>
                        </a:lnSpc>
                        <a:spcBef>
                          <a:spcPts val="300"/>
                        </a:spcBef>
                        <a:buClr>
                          <a:schemeClr val="tx1"/>
                        </a:buClr>
                        <a:buSzPct val="70000"/>
                        <a:buFont typeface="Wingdings 2" panose="05020102010507070707" pitchFamily="18" charset="2"/>
                        <a:buChar char="¡"/>
                      </a:pPr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Tele-GroteskNor" pitchFamily="2" charset="0"/>
                        </a:rPr>
                        <a:t>Miles+ (time-writing tool)</a:t>
                      </a:r>
                    </a:p>
                  </a:txBody>
                  <a:tcPr marL="94489" marR="0" marT="84012" marB="84012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17488" indent="-217488" algn="l" eaLnBrk="1">
                        <a:lnSpc>
                          <a:spcPct val="104000"/>
                        </a:lnSpc>
                        <a:spcBef>
                          <a:spcPts val="300"/>
                        </a:spcBef>
                        <a:buClr>
                          <a:schemeClr val="tx1"/>
                        </a:buClr>
                        <a:buSzPct val="70000"/>
                        <a:buFont typeface="Wingdings 2" panose="05020102010507070707" pitchFamily="18" charset="2"/>
                        <a:buChar char="¡"/>
                      </a:pPr>
                      <a:endParaRPr lang="en-US" sz="2100" dirty="0">
                        <a:solidFill>
                          <a:schemeClr val="tx1"/>
                        </a:solidFill>
                        <a:latin typeface="Tele-GroteskNor" pitchFamily="2" charset="0"/>
                      </a:endParaRPr>
                    </a:p>
                  </a:txBody>
                  <a:tcPr marL="0" marR="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11393">
                <a:tc>
                  <a:txBody>
                    <a:bodyPr/>
                    <a:lstStyle/>
                    <a:p>
                      <a:pPr marL="217488" indent="-217488" algn="l" eaLnBrk="1">
                        <a:lnSpc>
                          <a:spcPct val="104000"/>
                        </a:lnSpc>
                        <a:spcBef>
                          <a:spcPts val="300"/>
                        </a:spcBef>
                        <a:buClr>
                          <a:schemeClr val="tx1"/>
                        </a:buClr>
                        <a:buSzPct val="70000"/>
                        <a:buFont typeface="Wingdings 2" panose="05020102010507070707" pitchFamily="18" charset="2"/>
                        <a:buChar char="¡"/>
                      </a:pPr>
                      <a:endParaRPr lang="en-US" sz="1900" dirty="0">
                        <a:solidFill>
                          <a:schemeClr val="tx1"/>
                        </a:solidFill>
                        <a:latin typeface="Tele-GroteskNor" pitchFamily="2" charset="0"/>
                      </a:endParaRPr>
                    </a:p>
                  </a:txBody>
                  <a:tcPr marL="0" marR="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4000"/>
                        </a:lnSpc>
                        <a:spcBef>
                          <a:spcPts val="300"/>
                        </a:spcBef>
                        <a:buClr>
                          <a:schemeClr val="tx1"/>
                        </a:buClr>
                        <a:buSzPct val="70000"/>
                        <a:buFont typeface="Wingdings 2" panose="05020102010507070707" pitchFamily="18" charset="2"/>
                        <a:buNone/>
                      </a:pPr>
                      <a:r>
                        <a:rPr lang="hu-HU" sz="1600" baseline="0" dirty="0" smtClean="0">
                          <a:solidFill>
                            <a:schemeClr val="tx1"/>
                          </a:solidFill>
                          <a:latin typeface="Tele-GroteskNor" pitchFamily="2" charset="0"/>
                        </a:rPr>
                        <a:t>Defining cross-functions &amp; dependencies</a:t>
                      </a:r>
                    </a:p>
                  </a:txBody>
                  <a:tcPr marL="94489" marR="0" marT="84012" marB="84012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17488" indent="-217488" algn="l" eaLnBrk="1">
                        <a:lnSpc>
                          <a:spcPct val="104000"/>
                        </a:lnSpc>
                        <a:spcBef>
                          <a:spcPts val="300"/>
                        </a:spcBef>
                        <a:buClr>
                          <a:schemeClr val="tx1"/>
                        </a:buClr>
                        <a:buSzPct val="70000"/>
                        <a:buFont typeface="Wingdings 2" panose="05020102010507070707" pitchFamily="18" charset="2"/>
                        <a:buChar char="¡"/>
                      </a:pPr>
                      <a:endParaRPr lang="en-US" sz="2100" dirty="0">
                        <a:solidFill>
                          <a:schemeClr val="tx1"/>
                        </a:solidFill>
                        <a:latin typeface="Tele-GroteskNor" pitchFamily="2" charset="0"/>
                      </a:endParaRPr>
                    </a:p>
                  </a:txBody>
                  <a:tcPr marL="0" marR="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11393">
                <a:tc>
                  <a:txBody>
                    <a:bodyPr/>
                    <a:lstStyle/>
                    <a:p>
                      <a:pPr marL="217488" indent="-217488" algn="l" eaLnBrk="1">
                        <a:lnSpc>
                          <a:spcPct val="104000"/>
                        </a:lnSpc>
                        <a:spcBef>
                          <a:spcPts val="300"/>
                        </a:spcBef>
                        <a:buClr>
                          <a:schemeClr val="tx1"/>
                        </a:buClr>
                        <a:buSzPct val="70000"/>
                        <a:buFont typeface="Wingdings 2" panose="05020102010507070707" pitchFamily="18" charset="2"/>
                        <a:buChar char="¡"/>
                      </a:pPr>
                      <a:endParaRPr lang="en-US" sz="1900" dirty="0">
                        <a:solidFill>
                          <a:schemeClr val="tx1"/>
                        </a:solidFill>
                        <a:latin typeface="Tele-GroteskNor" pitchFamily="2" charset="0"/>
                      </a:endParaRPr>
                    </a:p>
                  </a:txBody>
                  <a:tcPr marL="0" marR="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457171" rtl="0" eaLnBrk="1" fontAlgn="auto" latinLnBrk="0" hangingPunct="1">
                        <a:lnSpc>
                          <a:spcPct val="104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70000"/>
                        <a:buFont typeface="Wingdings 2" panose="05020102010507070707" pitchFamily="18" charset="2"/>
                        <a:buNone/>
                        <a:tabLst/>
                        <a:defRPr/>
                      </a:pPr>
                      <a:r>
                        <a:rPr lang="hu-HU" sz="1600" noProof="0" dirty="0" smtClean="0"/>
                        <a:t>MS applications – be</a:t>
                      </a:r>
                      <a:r>
                        <a:rPr lang="hu-HU" sz="1600" baseline="0" noProof="0" dirty="0" smtClean="0"/>
                        <a:t> an expert</a:t>
                      </a:r>
                      <a:endParaRPr lang="en-GB" sz="1600" noProof="0" dirty="0"/>
                    </a:p>
                  </a:txBody>
                  <a:tcPr marL="94489" marR="0" marT="84012" marB="84012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17488" indent="-217488" algn="l" eaLnBrk="1">
                        <a:lnSpc>
                          <a:spcPct val="104000"/>
                        </a:lnSpc>
                        <a:spcBef>
                          <a:spcPts val="300"/>
                        </a:spcBef>
                        <a:buClr>
                          <a:schemeClr val="tx1"/>
                        </a:buClr>
                        <a:buSzPct val="70000"/>
                        <a:buFont typeface="Wingdings 2" panose="05020102010507070707" pitchFamily="18" charset="2"/>
                        <a:buChar char="¡"/>
                      </a:pPr>
                      <a:endParaRPr lang="en-US" sz="2100" dirty="0">
                        <a:solidFill>
                          <a:schemeClr val="tx1"/>
                        </a:solidFill>
                        <a:latin typeface="Tele-GroteskNor" pitchFamily="2" charset="0"/>
                      </a:endParaRPr>
                    </a:p>
                  </a:txBody>
                  <a:tcPr marL="0" marR="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311393">
                <a:tc>
                  <a:txBody>
                    <a:bodyPr/>
                    <a:lstStyle/>
                    <a:p>
                      <a:pPr marL="217488" indent="-217488" algn="l" eaLnBrk="1">
                        <a:lnSpc>
                          <a:spcPct val="104000"/>
                        </a:lnSpc>
                        <a:spcBef>
                          <a:spcPts val="300"/>
                        </a:spcBef>
                        <a:buClr>
                          <a:schemeClr val="tx1"/>
                        </a:buClr>
                        <a:buSzPct val="70000"/>
                        <a:buFont typeface="Wingdings 2" panose="05020102010507070707" pitchFamily="18" charset="2"/>
                        <a:buChar char="¡"/>
                      </a:pPr>
                      <a:endParaRPr lang="en-US" sz="1900" dirty="0">
                        <a:solidFill>
                          <a:schemeClr val="tx1"/>
                        </a:solidFill>
                        <a:latin typeface="Tele-GroteskNor" pitchFamily="2" charset="0"/>
                      </a:endParaRPr>
                    </a:p>
                  </a:txBody>
                  <a:tcPr marL="0" marR="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4000"/>
                        </a:lnSpc>
                        <a:spcBef>
                          <a:spcPts val="300"/>
                        </a:spcBef>
                        <a:buClr>
                          <a:schemeClr val="tx1"/>
                        </a:buClr>
                        <a:buSzPct val="70000"/>
                        <a:buFont typeface="Wingdings 2" panose="05020102010507070707" pitchFamily="18" charset="2"/>
                        <a:buNone/>
                      </a:pPr>
                      <a:r>
                        <a:rPr lang="hu-HU" sz="1600" dirty="0" smtClean="0">
                          <a:solidFill>
                            <a:schemeClr val="tx1"/>
                          </a:solidFill>
                          <a:latin typeface="Tele-GroteskNor" pitchFamily="2" charset="0"/>
                        </a:rPr>
                        <a:t>Your</a:t>
                      </a:r>
                      <a:r>
                        <a:rPr lang="hu-HU" sz="1600" baseline="0" dirty="0" smtClean="0">
                          <a:solidFill>
                            <a:schemeClr val="tx1"/>
                          </a:solidFill>
                          <a:latin typeface="Tele-GroteskNor" pitchFamily="2" charset="0"/>
                        </a:rPr>
                        <a:t> unique soft-skills</a:t>
                      </a:r>
                      <a:endParaRPr lang="en-US" sz="1600" dirty="0">
                        <a:solidFill>
                          <a:schemeClr val="tx1"/>
                        </a:solidFill>
                        <a:latin typeface="Tele-GroteskNor" pitchFamily="2" charset="0"/>
                      </a:endParaRPr>
                    </a:p>
                  </a:txBody>
                  <a:tcPr marL="94489" marR="0" marT="84012" marB="84012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17488" indent="-217488" algn="l" eaLnBrk="1">
                        <a:lnSpc>
                          <a:spcPct val="104000"/>
                        </a:lnSpc>
                        <a:spcBef>
                          <a:spcPts val="300"/>
                        </a:spcBef>
                        <a:buClr>
                          <a:schemeClr val="tx1"/>
                        </a:buClr>
                        <a:buSzPct val="70000"/>
                        <a:buFont typeface="Wingdings 2" panose="05020102010507070707" pitchFamily="18" charset="2"/>
                        <a:buChar char="¡"/>
                      </a:pPr>
                      <a:endParaRPr lang="en-US" sz="2100" dirty="0">
                        <a:solidFill>
                          <a:schemeClr val="tx1"/>
                        </a:solidFill>
                        <a:latin typeface="Tele-GroteskNor" pitchFamily="2" charset="0"/>
                      </a:endParaRPr>
                    </a:p>
                  </a:txBody>
                  <a:tcPr marL="0" marR="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12" name="Foliennummernplatzhalter 1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B82B61-49DC-4937-83D9-6C97F6C89D5B}" type="slidenum">
              <a:rPr lang="en-US" smtClean="0"/>
              <a:pPr/>
              <a:t>19</a:t>
            </a:fld>
            <a:endParaRPr lang="en-US" dirty="0"/>
          </a:p>
        </p:txBody>
      </p:sp>
      <p:sp>
        <p:nvSpPr>
          <p:cNvPr id="2" name="AutoShape 2" descr="Image result for pm tools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3" name="AutoShape 4" descr="Image result for pm tools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4" name="AutoShape 6" descr="Image result for pm tools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pic>
        <p:nvPicPr>
          <p:cNvPr id="18442" name="Picture 10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56605" y="1378642"/>
            <a:ext cx="2629184" cy="54351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PTE MIK PM1 2018/19-1        -        PMO Basics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3189403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Rectangle 21"/>
          <p:cNvSpPr>
            <a:spLocks noChangeAspect="1" noChangeArrowheads="1"/>
          </p:cNvSpPr>
          <p:nvPr/>
        </p:nvSpPr>
        <p:spPr bwMode="gray">
          <a:xfrm>
            <a:off x="360001" y="1120085"/>
            <a:ext cx="1499669" cy="1499669"/>
          </a:xfrm>
          <a:prstGeom prst="ellipse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  <a:effectLst>
            <a:glow rad="368300">
              <a:schemeClr val="accent4">
                <a:lumMod val="60000"/>
                <a:lumOff val="40000"/>
                <a:alpha val="98000"/>
              </a:schemeClr>
            </a:glow>
          </a:effectLst>
          <a:extLst/>
        </p:spPr>
        <p:txBody>
          <a:bodyPr wrap="square" lIns="0" tIns="0" rIns="0" bIns="0" anchor="ctr" anchorCtr="0">
            <a:noAutofit/>
          </a:bodyPr>
          <a:lstStyle>
            <a:lvl1pPr marL="1588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>
              <a:lnSpc>
                <a:spcPct val="90000"/>
              </a:lnSpc>
              <a:spcBef>
                <a:spcPts val="0"/>
              </a:spcBef>
            </a:pPr>
            <a:endParaRPr lang="en-US" altLang="de-DE" sz="1800" dirty="0">
              <a:solidFill>
                <a:srgbClr val="000000"/>
              </a:solidFill>
              <a:latin typeface="TeleGrotesk Headline Ultra" pitchFamily="2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185B2FC-D18E-4EA2-A103-6DCF88856111}" type="slidenum">
              <a:rPr lang="en-US" noProof="0" smtClean="0"/>
              <a:pPr/>
              <a:t>2</a:t>
            </a:fld>
            <a:endParaRPr lang="en-US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mtClean="0"/>
              <a:t>History of PMO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PTE MIK PM1 2018/19-1        -        PMO Basics</a:t>
            </a:r>
            <a:endParaRPr lang="en-US" noProof="0" dirty="0" smtClean="0"/>
          </a:p>
        </p:txBody>
      </p:sp>
      <p:sp>
        <p:nvSpPr>
          <p:cNvPr id="7" name="Rectangle 6"/>
          <p:cNvSpPr/>
          <p:nvPr/>
        </p:nvSpPr>
        <p:spPr>
          <a:xfrm>
            <a:off x="632958" y="2619754"/>
            <a:ext cx="95375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hu-HU" sz="1400"/>
              <a:t> </a:t>
            </a:r>
            <a:r>
              <a:rPr lang="hu-HU" sz="2400"/>
              <a:t>1910</a:t>
            </a:r>
          </a:p>
        </p:txBody>
      </p:sp>
      <p:pic>
        <p:nvPicPr>
          <p:cNvPr id="29698" name="Picture 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-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7425" y="1281718"/>
            <a:ext cx="1024820" cy="1176401"/>
          </a:xfrm>
          <a:prstGeom prst="rect">
            <a:avLst/>
          </a:prstGeom>
          <a:gradFill>
            <a:gsLst>
              <a:gs pos="56000">
                <a:schemeClr val="accent5">
                  <a:lumMod val="75000"/>
                </a:schemeClr>
              </a:gs>
              <a:gs pos="0">
                <a:schemeClr val="accent3"/>
              </a:gs>
              <a:gs pos="80000">
                <a:schemeClr val="accent4">
                  <a:lumMod val="40000"/>
                  <a:lumOff val="60000"/>
                </a:schemeClr>
              </a:gs>
            </a:gsLst>
            <a:lin ang="10800000" scaled="1"/>
          </a:gradFill>
          <a:ln>
            <a:noFill/>
          </a:ln>
          <a:effectLst>
            <a:softEdge rad="266700"/>
          </a:effectLst>
        </p:spPr>
      </p:pic>
    </p:spTree>
    <p:extLst>
      <p:ext uri="{BB962C8B-B14F-4D97-AF65-F5344CB8AC3E}">
        <p14:creationId xmlns:p14="http://schemas.microsoft.com/office/powerpoint/2010/main" val="17799366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185B2FC-D18E-4EA2-A103-6DCF88856111}" type="slidenum">
              <a:rPr lang="en-US" noProof="0" smtClean="0"/>
              <a:pPr/>
              <a:t>20</a:t>
            </a:fld>
            <a:endParaRPr lang="en-US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PMO </a:t>
            </a:r>
            <a:r>
              <a:rPr lang="hu-HU" dirty="0" err="1" smtClean="0"/>
              <a:t>roles</a:t>
            </a:r>
            <a:r>
              <a:rPr lang="hu-HU" dirty="0" smtClean="0"/>
              <a:t> &amp; Tasks – </a:t>
            </a:r>
            <a:r>
              <a:rPr lang="hu-HU" dirty="0" err="1" smtClean="0"/>
              <a:t>on</a:t>
            </a:r>
            <a:r>
              <a:rPr lang="hu-HU" dirty="0" smtClean="0"/>
              <a:t> </a:t>
            </a:r>
            <a:r>
              <a:rPr lang="hu-HU" dirty="0" err="1" smtClean="0"/>
              <a:t>wide-scale</a:t>
            </a:r>
            <a:r>
              <a:rPr lang="hu-HU" dirty="0" smtClean="0"/>
              <a:t>				3/</a:t>
            </a:r>
            <a:r>
              <a:rPr lang="hu-HU" dirty="0" err="1" smtClean="0"/>
              <a:t>3</a:t>
            </a:r>
            <a:endParaRPr lang="hu-HU" dirty="0"/>
          </a:p>
        </p:txBody>
      </p:sp>
      <p:pic>
        <p:nvPicPr>
          <p:cNvPr id="16386" name="Picture 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4880" y="2902927"/>
            <a:ext cx="9025128" cy="370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389" name="Picture 5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4880" y="851004"/>
            <a:ext cx="9025128" cy="2044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PTE MIK PM1 2018/19-1        -        PMO Basics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1997156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185B2FC-D18E-4EA2-A103-6DCF88856111}" type="slidenum">
              <a:rPr lang="en-US" noProof="0" smtClean="0"/>
              <a:pPr/>
              <a:t>21</a:t>
            </a:fld>
            <a:endParaRPr lang="en-US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Resource management tool</a:t>
            </a:r>
            <a:endParaRPr lang="hu-HU" dirty="0"/>
          </a:p>
        </p:txBody>
      </p:sp>
      <p:pic>
        <p:nvPicPr>
          <p:cNvPr id="16386" name="Picture 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3289" y="1188749"/>
            <a:ext cx="9822094" cy="2027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tangle 3"/>
          <p:cNvSpPr/>
          <p:nvPr/>
        </p:nvSpPr>
        <p:spPr bwMode="gray">
          <a:xfrm>
            <a:off x="149380" y="1571946"/>
            <a:ext cx="421241" cy="92467"/>
          </a:xfrm>
          <a:prstGeom prst="rect">
            <a:avLst/>
          </a:prstGeom>
          <a:solidFill>
            <a:srgbClr val="E20074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no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6" name="Rectangle 5"/>
          <p:cNvSpPr/>
          <p:nvPr/>
        </p:nvSpPr>
        <p:spPr bwMode="gray">
          <a:xfrm>
            <a:off x="1216180" y="1585644"/>
            <a:ext cx="421241" cy="92467"/>
          </a:xfrm>
          <a:prstGeom prst="rect">
            <a:avLst/>
          </a:prstGeom>
          <a:solidFill>
            <a:srgbClr val="E20074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no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7" name="Rectangle 6"/>
          <p:cNvSpPr/>
          <p:nvPr/>
        </p:nvSpPr>
        <p:spPr bwMode="gray">
          <a:xfrm>
            <a:off x="2079209" y="1585643"/>
            <a:ext cx="421241" cy="92467"/>
          </a:xfrm>
          <a:prstGeom prst="rect">
            <a:avLst/>
          </a:prstGeom>
          <a:solidFill>
            <a:srgbClr val="E20074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no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8" name="Rectangle 7"/>
          <p:cNvSpPr/>
          <p:nvPr/>
        </p:nvSpPr>
        <p:spPr bwMode="gray">
          <a:xfrm>
            <a:off x="1304818" y="2631895"/>
            <a:ext cx="336433" cy="121579"/>
          </a:xfrm>
          <a:prstGeom prst="rect">
            <a:avLst/>
          </a:prstGeom>
          <a:solidFill>
            <a:srgbClr val="E20074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no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9" name="Rectangle 8"/>
          <p:cNvSpPr/>
          <p:nvPr/>
        </p:nvSpPr>
        <p:spPr bwMode="gray">
          <a:xfrm>
            <a:off x="4940157" y="2631895"/>
            <a:ext cx="336433" cy="214047"/>
          </a:xfrm>
          <a:prstGeom prst="rect">
            <a:avLst/>
          </a:prstGeom>
          <a:solidFill>
            <a:srgbClr val="E20074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no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0" name="Rectangle 9"/>
          <p:cNvSpPr/>
          <p:nvPr/>
        </p:nvSpPr>
        <p:spPr bwMode="gray">
          <a:xfrm>
            <a:off x="8041241" y="2585661"/>
            <a:ext cx="691793" cy="167814"/>
          </a:xfrm>
          <a:prstGeom prst="rect">
            <a:avLst/>
          </a:prstGeom>
          <a:solidFill>
            <a:srgbClr val="E20074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no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1" name="Rectangle 10"/>
          <p:cNvSpPr/>
          <p:nvPr/>
        </p:nvSpPr>
        <p:spPr bwMode="gray">
          <a:xfrm>
            <a:off x="664395" y="2666141"/>
            <a:ext cx="424666" cy="549667"/>
          </a:xfrm>
          <a:prstGeom prst="rect">
            <a:avLst/>
          </a:prstGeom>
          <a:solidFill>
            <a:srgbClr val="E20074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no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pic>
        <p:nvPicPr>
          <p:cNvPr id="16387" name="Picture 3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92521" y="2823555"/>
            <a:ext cx="3750067" cy="42634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Rectangle 13"/>
          <p:cNvSpPr/>
          <p:nvPr/>
        </p:nvSpPr>
        <p:spPr bwMode="gray">
          <a:xfrm>
            <a:off x="4025757" y="2845943"/>
            <a:ext cx="1250833" cy="95032"/>
          </a:xfrm>
          <a:prstGeom prst="rect">
            <a:avLst/>
          </a:prstGeom>
          <a:solidFill>
            <a:srgbClr val="E20074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no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5" name="Rectangle 14"/>
          <p:cNvSpPr/>
          <p:nvPr/>
        </p:nvSpPr>
        <p:spPr bwMode="gray">
          <a:xfrm>
            <a:off x="4025756" y="3019745"/>
            <a:ext cx="1250833" cy="95032"/>
          </a:xfrm>
          <a:prstGeom prst="rect">
            <a:avLst/>
          </a:prstGeom>
          <a:solidFill>
            <a:srgbClr val="E20074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no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6" name="Rectangle 15"/>
          <p:cNvSpPr/>
          <p:nvPr/>
        </p:nvSpPr>
        <p:spPr bwMode="gray">
          <a:xfrm>
            <a:off x="4025757" y="5699588"/>
            <a:ext cx="1250833" cy="95032"/>
          </a:xfrm>
          <a:prstGeom prst="rect">
            <a:avLst/>
          </a:prstGeom>
          <a:solidFill>
            <a:srgbClr val="E20074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no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7" name="Rectangle 16"/>
          <p:cNvSpPr/>
          <p:nvPr/>
        </p:nvSpPr>
        <p:spPr bwMode="gray">
          <a:xfrm>
            <a:off x="4025755" y="6667928"/>
            <a:ext cx="2241481" cy="267128"/>
          </a:xfrm>
          <a:prstGeom prst="rect">
            <a:avLst/>
          </a:prstGeom>
          <a:solidFill>
            <a:srgbClr val="E20074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no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8" name="AutoShape 5"/>
          <p:cNvSpPr>
            <a:spLocks noChangeArrowheads="1"/>
          </p:cNvSpPr>
          <p:nvPr/>
        </p:nvSpPr>
        <p:spPr bwMode="auto">
          <a:xfrm>
            <a:off x="364706" y="3315802"/>
            <a:ext cx="2553089" cy="519210"/>
          </a:xfrm>
          <a:prstGeom prst="chevron">
            <a:avLst>
              <a:gd name="adj" fmla="val 50650"/>
            </a:avLst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hu-HU" sz="1400" dirty="0" err="1" smtClean="0">
                <a:solidFill>
                  <a:srgbClr val="FFFFFF"/>
                </a:solidFill>
                <a:latin typeface="Tele-GroteskFet" pitchFamily="2" charset="0"/>
              </a:rPr>
              <a:t>Derives</a:t>
            </a:r>
            <a:r>
              <a:rPr lang="hu-HU" sz="1400" dirty="0" smtClean="0">
                <a:solidFill>
                  <a:srgbClr val="FFFFFF"/>
                </a:solidFill>
                <a:latin typeface="Tele-GroteskFet" pitchFamily="2" charset="0"/>
              </a:rPr>
              <a:t> </a:t>
            </a:r>
            <a:r>
              <a:rPr lang="hu-HU" sz="1400" dirty="0" err="1" smtClean="0">
                <a:solidFill>
                  <a:srgbClr val="FFFFFF"/>
                </a:solidFill>
                <a:latin typeface="Tele-GroteskFet" pitchFamily="2" charset="0"/>
              </a:rPr>
              <a:t>from</a:t>
            </a:r>
            <a:r>
              <a:rPr lang="hu-HU" sz="1400" dirty="0" smtClean="0">
                <a:solidFill>
                  <a:srgbClr val="FFFFFF"/>
                </a:solidFill>
                <a:latin typeface="Tele-GroteskFet" pitchFamily="2" charset="0"/>
              </a:rPr>
              <a:t> </a:t>
            </a:r>
            <a:r>
              <a:rPr lang="hu-HU" sz="1400" dirty="0" err="1" smtClean="0">
                <a:solidFill>
                  <a:srgbClr val="FFFFFF"/>
                </a:solidFill>
                <a:latin typeface="Tele-GroteskFet" pitchFamily="2" charset="0"/>
              </a:rPr>
              <a:t>Competence</a:t>
            </a:r>
            <a:r>
              <a:rPr lang="hu-HU" sz="1400" dirty="0" smtClean="0">
                <a:solidFill>
                  <a:srgbClr val="FFFFFF"/>
                </a:solidFill>
                <a:latin typeface="Tele-GroteskFet" pitchFamily="2" charset="0"/>
              </a:rPr>
              <a:t> </a:t>
            </a:r>
            <a:r>
              <a:rPr lang="hu-HU" sz="1200" dirty="0" smtClean="0">
                <a:solidFill>
                  <a:srgbClr val="FFFFFF"/>
                </a:solidFill>
                <a:latin typeface="Tele-GroteskFet" pitchFamily="2" charset="0"/>
              </a:rPr>
              <a:t>DB </a:t>
            </a:r>
            <a:r>
              <a:rPr lang="hu-HU" sz="1800" dirty="0" smtClean="0">
                <a:solidFill>
                  <a:srgbClr val="FFFFFF"/>
                </a:solidFill>
                <a:latin typeface="Tele-GroteskFet" pitchFamily="2" charset="0"/>
              </a:rPr>
              <a:t>                            </a:t>
            </a:r>
            <a:endParaRPr lang="en-US" sz="1800" dirty="0">
              <a:solidFill>
                <a:srgbClr val="FFFFFF"/>
              </a:solidFill>
              <a:latin typeface="Tele-GroteskFet" pitchFamily="2" charset="0"/>
            </a:endParaRPr>
          </a:p>
        </p:txBody>
      </p:sp>
      <p:sp>
        <p:nvSpPr>
          <p:cNvPr id="20" name="Inhaltsplatzhalter 6"/>
          <p:cNvSpPr txBox="1">
            <a:spLocks/>
          </p:cNvSpPr>
          <p:nvPr/>
        </p:nvSpPr>
        <p:spPr bwMode="gray">
          <a:xfrm>
            <a:off x="7060327" y="3309196"/>
            <a:ext cx="2653619" cy="1817608"/>
          </a:xfrm>
          <a:prstGeom prst="rect">
            <a:avLst/>
          </a:prstGeom>
          <a:noFill/>
          <a:ln w="19050">
            <a:solidFill>
              <a:schemeClr val="tx2"/>
            </a:solidFill>
            <a:miter lim="800000"/>
            <a:headEnd/>
            <a:tailEnd/>
          </a:ln>
        </p:spPr>
        <p:txBody>
          <a:bodyPr vert="horz" wrap="square" lIns="108000" tIns="72000" rIns="72000" bIns="72000" numCol="1" anchor="t" anchorCtr="0" compatLnSpc="1">
            <a:prstTxWarp prst="textNoShape">
              <a:avLst/>
            </a:prstTxWarp>
          </a:bodyPr>
          <a:lstStyle>
            <a:lvl1pPr algn="l" defTabSz="576226" rtl="0" eaLnBrk="1" fontAlgn="base" hangingPunct="1">
              <a:lnSpc>
                <a:spcPct val="104000"/>
              </a:lnSpc>
              <a:spcBef>
                <a:spcPts val="12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800" kern="1200">
                <a:solidFill>
                  <a:srgbClr val="4B4B4B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576226" rtl="0" eaLnBrk="1" fontAlgn="base" hangingPunct="1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2pPr>
            <a:lvl3pPr marL="225410" indent="-220649" algn="l" defTabSz="576226" rtl="0" eaLnBrk="1" fontAlgn="base" hangingPunct="1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3pPr>
            <a:lvl4pPr marL="444471" indent="-215886" algn="l" defTabSz="576226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4pPr>
            <a:lvl5pPr marL="677820" indent="-231761" algn="l" defTabSz="576226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5pPr>
            <a:lvl6pPr marL="2514440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09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80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51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E20074"/>
              </a:buClr>
            </a:pPr>
            <a:r>
              <a:rPr lang="hu-HU" sz="1600" dirty="0" smtClean="0">
                <a:solidFill>
                  <a:srgbClr val="E20074"/>
                </a:solidFill>
              </a:rPr>
              <a:t>1. PM </a:t>
            </a:r>
            <a:r>
              <a:rPr lang="hu-HU" sz="1600" dirty="0" err="1" smtClean="0">
                <a:solidFill>
                  <a:srgbClr val="E20074"/>
                </a:solidFill>
              </a:rPr>
              <a:t>initiates</a:t>
            </a:r>
            <a:r>
              <a:rPr lang="hu-HU" sz="1600" dirty="0" smtClean="0">
                <a:solidFill>
                  <a:srgbClr val="E20074"/>
                </a:solidFill>
              </a:rPr>
              <a:t> </a:t>
            </a:r>
            <a:r>
              <a:rPr lang="hu-HU" sz="1600" dirty="0" err="1" smtClean="0">
                <a:solidFill>
                  <a:srgbClr val="E20074"/>
                </a:solidFill>
              </a:rPr>
              <a:t>request</a:t>
            </a:r>
            <a:endParaRPr lang="en-US" sz="1600" dirty="0" smtClean="0">
              <a:solidFill>
                <a:srgbClr val="E20074"/>
              </a:solidFill>
            </a:endParaRPr>
          </a:p>
          <a:p>
            <a:pPr lvl="1">
              <a:buClr>
                <a:srgbClr val="E20074"/>
              </a:buClr>
            </a:pPr>
            <a:r>
              <a:rPr lang="hu-HU" sz="1600" dirty="0" smtClean="0"/>
              <a:t>2. </a:t>
            </a:r>
            <a:r>
              <a:rPr lang="hu-HU" sz="1600" dirty="0" err="1" smtClean="0"/>
              <a:t>ReM</a:t>
            </a:r>
            <a:r>
              <a:rPr lang="hu-HU" sz="1600" dirty="0" smtClean="0"/>
              <a:t> Team </a:t>
            </a:r>
            <a:r>
              <a:rPr lang="hu-HU" sz="1600" dirty="0" err="1" smtClean="0"/>
              <a:t>accepts</a:t>
            </a:r>
            <a:endParaRPr lang="en-US" sz="1600" dirty="0" smtClean="0"/>
          </a:p>
          <a:p>
            <a:pPr marL="0" lvl="2" indent="0">
              <a:buClr>
                <a:srgbClr val="4B4B4B"/>
              </a:buClr>
              <a:buNone/>
            </a:pPr>
            <a:r>
              <a:rPr lang="hu-HU" sz="1600" dirty="0" smtClean="0"/>
              <a:t>3. </a:t>
            </a:r>
            <a:r>
              <a:rPr lang="hu-HU" sz="1600" dirty="0" err="1" smtClean="0"/>
              <a:t>Seek</a:t>
            </a:r>
            <a:r>
              <a:rPr lang="hu-HU" sz="1600" dirty="0" smtClean="0"/>
              <a:t> </a:t>
            </a:r>
            <a:r>
              <a:rPr lang="hu-HU" sz="1600" dirty="0" err="1" smtClean="0"/>
              <a:t>for</a:t>
            </a:r>
            <a:r>
              <a:rPr lang="hu-HU" sz="1600" dirty="0" smtClean="0"/>
              <a:t> </a:t>
            </a:r>
            <a:r>
              <a:rPr lang="hu-HU" sz="1600" dirty="0" err="1" smtClean="0"/>
              <a:t>suitable</a:t>
            </a:r>
            <a:r>
              <a:rPr lang="hu-HU" sz="1600" dirty="0" smtClean="0"/>
              <a:t> </a:t>
            </a:r>
            <a:r>
              <a:rPr lang="hu-HU" sz="1600" dirty="0" err="1" smtClean="0"/>
              <a:t>candidate</a:t>
            </a:r>
            <a:endParaRPr lang="en-US" sz="1600" dirty="0" smtClean="0"/>
          </a:p>
          <a:p>
            <a:pPr marL="216114" lvl="3" indent="0">
              <a:buClr>
                <a:srgbClr val="4B4B4B"/>
              </a:buClr>
              <a:buNone/>
            </a:pPr>
            <a:r>
              <a:rPr lang="hu-HU" sz="1600" dirty="0" smtClean="0"/>
              <a:t>4. </a:t>
            </a:r>
            <a:r>
              <a:rPr lang="hu-HU" sz="1600" dirty="0" err="1" smtClean="0"/>
              <a:t>Capacity</a:t>
            </a:r>
            <a:r>
              <a:rPr lang="hu-HU" sz="1600" dirty="0" smtClean="0"/>
              <a:t> is OK</a:t>
            </a:r>
          </a:p>
          <a:p>
            <a:pPr marL="216114" lvl="3" indent="0">
              <a:buClr>
                <a:srgbClr val="4B4B4B"/>
              </a:buClr>
              <a:buNone/>
            </a:pPr>
            <a:r>
              <a:rPr lang="hu-HU" sz="1600" dirty="0" smtClean="0"/>
              <a:t>5. </a:t>
            </a:r>
            <a:r>
              <a:rPr lang="hu-HU" sz="1600" dirty="0" err="1" smtClean="0"/>
              <a:t>Candidate</a:t>
            </a:r>
            <a:r>
              <a:rPr lang="hu-HU" sz="1600" dirty="0" smtClean="0"/>
              <a:t> </a:t>
            </a:r>
            <a:r>
              <a:rPr lang="hu-HU" sz="1600" dirty="0" err="1" smtClean="0"/>
              <a:t>approved</a:t>
            </a:r>
            <a:r>
              <a:rPr lang="hu-HU" sz="1600" dirty="0" smtClean="0"/>
              <a:t> </a:t>
            </a:r>
            <a:r>
              <a:rPr lang="hu-HU" sz="1600" dirty="0" err="1" smtClean="0"/>
              <a:t>by</a:t>
            </a:r>
            <a:r>
              <a:rPr lang="hu-HU" sz="1600" dirty="0" smtClean="0"/>
              <a:t> PM</a:t>
            </a:r>
            <a:endParaRPr lang="en-US" sz="16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PTE MIK PM1 2018/19-1        -        PMO Basics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2328930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185B2FC-D18E-4EA2-A103-6DCF88856111}" type="slidenum">
              <a:rPr lang="en-US" noProof="0" smtClean="0"/>
              <a:pPr/>
              <a:t>22</a:t>
            </a:fld>
            <a:endParaRPr lang="en-US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Resource </a:t>
            </a:r>
            <a:r>
              <a:rPr lang="hu-HU" dirty="0" err="1" smtClean="0"/>
              <a:t>forecast</a:t>
            </a:r>
            <a:r>
              <a:rPr lang="hu-HU" dirty="0" smtClean="0"/>
              <a:t> </a:t>
            </a:r>
            <a:r>
              <a:rPr lang="hu-HU" dirty="0" err="1" smtClean="0"/>
              <a:t>report</a:t>
            </a:r>
            <a:endParaRPr lang="hu-HU" dirty="0"/>
          </a:p>
        </p:txBody>
      </p:sp>
      <p:pic>
        <p:nvPicPr>
          <p:cNvPr id="21506" name="Picture 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35368" y="2321960"/>
            <a:ext cx="9687373" cy="39907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508" name="Picture 4" descr="Related image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07081" y="396215"/>
            <a:ext cx="1925744" cy="19257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PTE MIK PM1 2018/19-1        -        PMO Basics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14461351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185B2FC-D18E-4EA2-A103-6DCF88856111}" type="slidenum">
              <a:rPr lang="en-US" noProof="0" smtClean="0"/>
              <a:pPr/>
              <a:t>23</a:t>
            </a:fld>
            <a:endParaRPr lang="en-US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Resource </a:t>
            </a:r>
            <a:r>
              <a:rPr lang="hu-HU" dirty="0" err="1" smtClean="0"/>
              <a:t>forecast</a:t>
            </a:r>
            <a:r>
              <a:rPr lang="hu-HU" dirty="0" smtClean="0"/>
              <a:t> </a:t>
            </a:r>
            <a:r>
              <a:rPr lang="hu-HU" dirty="0" err="1" smtClean="0"/>
              <a:t>report</a:t>
            </a:r>
            <a:endParaRPr lang="hu-HU" dirty="0"/>
          </a:p>
        </p:txBody>
      </p:sp>
      <p:pic>
        <p:nvPicPr>
          <p:cNvPr id="22530" name="Picture 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2738" y="1395413"/>
            <a:ext cx="9455150" cy="4768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532" name="Picture 4" descr="Image result for cost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56117" y="280800"/>
            <a:ext cx="3111771" cy="19479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PTE MIK PM1 2018/19-1        -        PMO Basics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2794659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185B2FC-D18E-4EA2-A103-6DCF88856111}" type="slidenum">
              <a:rPr lang="en-US" noProof="0" smtClean="0"/>
              <a:pPr/>
              <a:t>24</a:t>
            </a:fld>
            <a:endParaRPr lang="en-US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Communication register – simple</a:t>
            </a:r>
            <a:endParaRPr lang="hu-HU" dirty="0"/>
          </a:p>
        </p:txBody>
      </p:sp>
      <p:pic>
        <p:nvPicPr>
          <p:cNvPr id="20482" name="Picture 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38249" y="1177447"/>
            <a:ext cx="9540781" cy="37386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PTE MIK PM1 2018/19-1        -        PMO Basics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227474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185B2FC-D18E-4EA2-A103-6DCF88856111}" type="slidenum">
              <a:rPr lang="en-US" noProof="0" smtClean="0"/>
              <a:pPr/>
              <a:t>25</a:t>
            </a:fld>
            <a:endParaRPr lang="en-US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Communication </a:t>
            </a:r>
            <a:r>
              <a:rPr lang="hu-HU" dirty="0" err="1" smtClean="0"/>
              <a:t>calendar</a:t>
            </a:r>
            <a:endParaRPr lang="hu-HU" dirty="0"/>
          </a:p>
        </p:txBody>
      </p:sp>
      <p:pic>
        <p:nvPicPr>
          <p:cNvPr id="4" name="Picture 3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3838" y="941923"/>
            <a:ext cx="9724802" cy="33834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458" name="Picture 2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3838" y="4490556"/>
            <a:ext cx="9724802" cy="23499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PTE MIK PM1 2018/19-1        -        PMO Basics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7645283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185B2FC-D18E-4EA2-A103-6DCF88856111}" type="slidenum">
              <a:rPr lang="en-US" noProof="0" smtClean="0"/>
              <a:pPr/>
              <a:t>26</a:t>
            </a:fld>
            <a:endParaRPr lang="en-US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Risk/</a:t>
            </a:r>
            <a:r>
              <a:rPr lang="hu-HU" dirty="0" err="1" smtClean="0"/>
              <a:t>issue</a:t>
            </a:r>
            <a:r>
              <a:rPr lang="hu-HU" dirty="0" smtClean="0"/>
              <a:t> log &amp; </a:t>
            </a:r>
            <a:r>
              <a:rPr lang="hu-HU" dirty="0" err="1" smtClean="0"/>
              <a:t>action</a:t>
            </a:r>
            <a:r>
              <a:rPr lang="hu-HU" dirty="0" smtClean="0"/>
              <a:t>  </a:t>
            </a:r>
            <a:r>
              <a:rPr lang="hu-HU" dirty="0" err="1" smtClean="0"/>
              <a:t>item</a:t>
            </a:r>
            <a:r>
              <a:rPr lang="hu-HU" dirty="0" smtClean="0"/>
              <a:t> </a:t>
            </a:r>
            <a:r>
              <a:rPr lang="hu-HU" dirty="0" err="1" smtClean="0"/>
              <a:t>list</a:t>
            </a:r>
            <a:endParaRPr lang="hu-HU" dirty="0"/>
          </a:p>
        </p:txBody>
      </p:sp>
      <p:pic>
        <p:nvPicPr>
          <p:cNvPr id="20482" name="Picture 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9350" y="1104740"/>
            <a:ext cx="9712012" cy="33336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PTE MIK PM1 2018/19-1        -        PMO Basics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12609113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AutoShape 5">
            <a:extLst>
              <a:ext uri="{FF2B5EF4-FFF2-40B4-BE49-F238E27FC236}">
                <a16:creationId xmlns="" xmlns:a16="http://schemas.microsoft.com/office/drawing/2014/main" id="{E3F1FA75-25B8-4B3D-8350-04D0DD51CAB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364" y="1487374"/>
            <a:ext cx="2230437" cy="1365899"/>
          </a:xfrm>
          <a:prstGeom prst="rect">
            <a:avLst/>
          </a:prstGeom>
          <a:solidFill>
            <a:srgbClr val="6C6C6C"/>
          </a:solidFill>
          <a:ln w="19050" cap="sq" algn="ctr">
            <a:solidFill>
              <a:srgbClr val="6C6C6C"/>
            </a:solidFill>
            <a:miter lim="800000"/>
            <a:headEnd/>
            <a:tailEnd/>
          </a:ln>
          <a:effectLst/>
        </p:spPr>
        <p:txBody>
          <a:bodyPr lIns="108000" tIns="72000" rIns="108000" bIns="72000"/>
          <a:lstStyle/>
          <a:p>
            <a:pPr defTabSz="914400">
              <a:lnSpc>
                <a:spcPct val="90000"/>
              </a:lnSpc>
              <a:spcBef>
                <a:spcPct val="0"/>
              </a:spcBef>
            </a:pPr>
            <a:r>
              <a:rPr lang="en-US" sz="1800" dirty="0">
                <a:solidFill>
                  <a:schemeClr val="bg1"/>
                </a:solidFill>
                <a:latin typeface="Tele-GroteskFet" pitchFamily="2" charset="0"/>
                <a:cs typeface="Arial Unicode MS"/>
              </a:rPr>
              <a:t>Red</a:t>
            </a:r>
          </a:p>
        </p:txBody>
      </p:sp>
      <p:sp>
        <p:nvSpPr>
          <p:cNvPr id="2" name="Titel 1">
            <a:extLst>
              <a:ext uri="{FF2B5EF4-FFF2-40B4-BE49-F238E27FC236}">
                <a16:creationId xmlns="" xmlns:a16="http://schemas.microsoft.com/office/drawing/2014/main" id="{167718DA-4931-4E02-BA84-B4B31D0A89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PMO’s </a:t>
            </a:r>
            <a:r>
              <a:rPr lang="hu-HU" dirty="0" err="1" smtClean="0"/>
              <a:t>Reporting</a:t>
            </a:r>
            <a:r>
              <a:rPr lang="hu-HU" dirty="0" smtClean="0"/>
              <a:t> </a:t>
            </a:r>
            <a:r>
              <a:rPr lang="hu-HU" dirty="0" err="1" smtClean="0"/>
              <a:t>basics</a:t>
            </a:r>
            <a:r>
              <a:rPr lang="hu-HU" dirty="0" smtClean="0"/>
              <a:t> 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="" xmlns:a16="http://schemas.microsoft.com/office/drawing/2014/main" id="{081DC43D-3ED0-408C-81CF-64738FA1118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27</a:t>
            </a:fld>
            <a:endParaRPr lang="en-US" dirty="0"/>
          </a:p>
        </p:txBody>
      </p:sp>
      <p:sp>
        <p:nvSpPr>
          <p:cNvPr id="5" name="Freeform 8">
            <a:extLst>
              <a:ext uri="{FF2B5EF4-FFF2-40B4-BE49-F238E27FC236}">
                <a16:creationId xmlns="" xmlns:a16="http://schemas.microsoft.com/office/drawing/2014/main" id="{9FD711AF-D54B-4CA8-9CE2-455283797969}"/>
              </a:ext>
            </a:extLst>
          </p:cNvPr>
          <p:cNvSpPr>
            <a:spLocks/>
          </p:cNvSpPr>
          <p:nvPr/>
        </p:nvSpPr>
        <p:spPr bwMode="gray">
          <a:xfrm>
            <a:off x="2736850" y="1487374"/>
            <a:ext cx="6983150" cy="1365899"/>
          </a:xfrm>
          <a:prstGeom prst="rect">
            <a:avLst/>
          </a:prstGeom>
          <a:solidFill>
            <a:schemeClr val="bg1"/>
          </a:solidFill>
          <a:ln w="19050" cap="sq" cmpd="sng">
            <a:solidFill>
              <a:srgbClr val="6C6C6C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108000" tIns="72000" rIns="108000" bIns="72000" anchor="t"/>
          <a:lstStyle/>
          <a:p>
            <a:pPr marL="216000" indent="-216000" defTabSz="1152144" eaLnBrk="1" hangingPunct="1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en-US" sz="1600" dirty="0">
                <a:latin typeface="+mn-lt"/>
                <a:ea typeface="+mn-ea"/>
              </a:rPr>
              <a:t>Critical issues could not be solved.</a:t>
            </a:r>
          </a:p>
          <a:p>
            <a:pPr marL="216000" indent="-216000" defTabSz="1152144" eaLnBrk="1" hangingPunct="1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en-US" sz="1600" dirty="0">
                <a:latin typeface="+mn-lt"/>
                <a:ea typeface="+mn-ea"/>
              </a:rPr>
              <a:t>Management </a:t>
            </a:r>
            <a:r>
              <a:rPr lang="en-US" sz="1600">
                <a:latin typeface="+mn-lt"/>
                <a:ea typeface="+mn-ea"/>
              </a:rPr>
              <a:t>review </a:t>
            </a:r>
            <a:r>
              <a:rPr lang="hu-HU" sz="1600" smtClean="0">
                <a:latin typeface="+mn-lt"/>
                <a:ea typeface="+mn-ea"/>
              </a:rPr>
              <a:t>and decisions are </a:t>
            </a:r>
            <a:r>
              <a:rPr lang="en-US" sz="1600" smtClean="0">
                <a:latin typeface="+mn-lt"/>
                <a:ea typeface="+mn-ea"/>
              </a:rPr>
              <a:t>necessary</a:t>
            </a:r>
            <a:r>
              <a:rPr lang="hu-HU" sz="1600"/>
              <a:t>,</a:t>
            </a:r>
            <a:r>
              <a:rPr lang="en-US" sz="1600" smtClean="0">
                <a:latin typeface="+mn-lt"/>
                <a:ea typeface="+mn-ea"/>
              </a:rPr>
              <a:t> </a:t>
            </a:r>
            <a:r>
              <a:rPr lang="en-US" sz="1600" dirty="0">
                <a:latin typeface="+mn-lt"/>
                <a:ea typeface="+mn-ea"/>
              </a:rPr>
              <a:t>the impact on business case and/or contractual milestone is likely or visible already</a:t>
            </a:r>
            <a:r>
              <a:rPr lang="en-US" sz="1600">
                <a:latin typeface="+mn-lt"/>
                <a:ea typeface="+mn-ea"/>
              </a:rPr>
              <a:t>. </a:t>
            </a:r>
            <a:r>
              <a:rPr lang="en-US" sz="1600" smtClean="0">
                <a:latin typeface="+mn-lt"/>
                <a:ea typeface="+mn-ea"/>
              </a:rPr>
              <a:t>(</a:t>
            </a:r>
            <a:r>
              <a:rPr lang="en-US" sz="1600" dirty="0">
                <a:latin typeface="+mn-lt"/>
                <a:ea typeface="+mn-ea"/>
              </a:rPr>
              <a:t>e.g. agree on new budgets).</a:t>
            </a:r>
          </a:p>
        </p:txBody>
      </p:sp>
      <p:sp>
        <p:nvSpPr>
          <p:cNvPr id="7" name="Freeform 8">
            <a:extLst>
              <a:ext uri="{FF2B5EF4-FFF2-40B4-BE49-F238E27FC236}">
                <a16:creationId xmlns="" xmlns:a16="http://schemas.microsoft.com/office/drawing/2014/main" id="{AEC79F10-D0AD-461D-9AB8-D6297195EEBD}"/>
              </a:ext>
            </a:extLst>
          </p:cNvPr>
          <p:cNvSpPr>
            <a:spLocks/>
          </p:cNvSpPr>
          <p:nvPr/>
        </p:nvSpPr>
        <p:spPr bwMode="gray">
          <a:xfrm>
            <a:off x="2736850" y="2930272"/>
            <a:ext cx="6983150" cy="1365898"/>
          </a:xfrm>
          <a:prstGeom prst="rect">
            <a:avLst/>
          </a:prstGeom>
          <a:solidFill>
            <a:schemeClr val="bg1"/>
          </a:solidFill>
          <a:ln w="19050" cap="sq" cmpd="sng">
            <a:solidFill>
              <a:srgbClr val="6C6C6C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108000" tIns="72000" rIns="108000" bIns="72000" anchor="t"/>
          <a:lstStyle/>
          <a:p>
            <a:pPr marL="216000" indent="-216000" defTabSz="1152144" eaLnBrk="1" hangingPunct="1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en-US" sz="1600" dirty="0">
                <a:latin typeface="+mn-lt"/>
                <a:ea typeface="+mn-ea"/>
              </a:rPr>
              <a:t>Might require management review.</a:t>
            </a:r>
          </a:p>
          <a:p>
            <a:pPr marL="216000" indent="-216000" defTabSz="1152144" eaLnBrk="1" hangingPunct="1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en-US" sz="1600" dirty="0">
                <a:latin typeface="+mn-lt"/>
                <a:ea typeface="+mn-ea"/>
              </a:rPr>
              <a:t>Critical issues are identified or not yet solved</a:t>
            </a:r>
            <a:r>
              <a:rPr lang="en-US" sz="1600">
                <a:latin typeface="+mn-lt"/>
                <a:ea typeface="+mn-ea"/>
              </a:rPr>
              <a:t>. </a:t>
            </a:r>
            <a:r>
              <a:rPr lang="en-US" sz="1600" smtClean="0">
                <a:latin typeface="+mn-lt"/>
                <a:ea typeface="+mn-ea"/>
              </a:rPr>
              <a:t>If </a:t>
            </a:r>
            <a:r>
              <a:rPr lang="en-US" sz="1600" dirty="0">
                <a:latin typeface="+mn-lt"/>
                <a:ea typeface="+mn-ea"/>
              </a:rPr>
              <a:t>issues are not solved within reasonable timeframe they will impact the business case and/or the deliverables.</a:t>
            </a:r>
          </a:p>
        </p:txBody>
      </p:sp>
      <p:sp>
        <p:nvSpPr>
          <p:cNvPr id="8" name="AutoShape 5">
            <a:extLst>
              <a:ext uri="{FF2B5EF4-FFF2-40B4-BE49-F238E27FC236}">
                <a16:creationId xmlns="" xmlns:a16="http://schemas.microsoft.com/office/drawing/2014/main" id="{9C84BE24-FA41-4FAA-AC48-8A9A350928E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364" y="2932176"/>
            <a:ext cx="2230437" cy="1365441"/>
          </a:xfrm>
          <a:prstGeom prst="rect">
            <a:avLst/>
          </a:prstGeom>
          <a:solidFill>
            <a:srgbClr val="6C6C6C"/>
          </a:solidFill>
          <a:ln w="19050" cap="sq" algn="ctr">
            <a:solidFill>
              <a:srgbClr val="6C6C6C"/>
            </a:solidFill>
            <a:miter lim="800000"/>
            <a:headEnd/>
            <a:tailEnd/>
          </a:ln>
          <a:effectLst/>
        </p:spPr>
        <p:txBody>
          <a:bodyPr lIns="108000" tIns="72000" rIns="108000" bIns="72000"/>
          <a:lstStyle/>
          <a:p>
            <a:pPr defTabSz="914400">
              <a:lnSpc>
                <a:spcPct val="90000"/>
              </a:lnSpc>
              <a:spcBef>
                <a:spcPct val="0"/>
              </a:spcBef>
            </a:pPr>
            <a:r>
              <a:rPr lang="en-US" sz="1800" dirty="0">
                <a:solidFill>
                  <a:schemeClr val="bg1"/>
                </a:solidFill>
                <a:latin typeface="Tele-GroteskFet" pitchFamily="2" charset="0"/>
                <a:cs typeface="Arial Unicode MS"/>
              </a:rPr>
              <a:t>Amber</a:t>
            </a:r>
          </a:p>
        </p:txBody>
      </p:sp>
      <p:sp>
        <p:nvSpPr>
          <p:cNvPr id="9" name="Freeform 8">
            <a:extLst>
              <a:ext uri="{FF2B5EF4-FFF2-40B4-BE49-F238E27FC236}">
                <a16:creationId xmlns="" xmlns:a16="http://schemas.microsoft.com/office/drawing/2014/main" id="{9995CD61-1577-4379-A7F8-F00F59EE9B2F}"/>
              </a:ext>
            </a:extLst>
          </p:cNvPr>
          <p:cNvSpPr>
            <a:spLocks/>
          </p:cNvSpPr>
          <p:nvPr/>
        </p:nvSpPr>
        <p:spPr bwMode="gray">
          <a:xfrm>
            <a:off x="2736850" y="4373168"/>
            <a:ext cx="6983150" cy="1368563"/>
          </a:xfrm>
          <a:prstGeom prst="rect">
            <a:avLst/>
          </a:prstGeom>
          <a:solidFill>
            <a:schemeClr val="bg1"/>
          </a:solidFill>
          <a:ln w="19050" cap="sq" cmpd="sng">
            <a:solidFill>
              <a:srgbClr val="6C6C6C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108000" tIns="72000" rIns="108000" bIns="72000" anchor="t"/>
          <a:lstStyle/>
          <a:p>
            <a:pPr marL="216000" indent="-216000" defTabSz="1152144" eaLnBrk="1" hangingPunct="1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en-US" sz="1600" dirty="0">
                <a:latin typeface="+mn-lt"/>
                <a:ea typeface="+mn-ea"/>
              </a:rPr>
              <a:t>No extra attention and action required.</a:t>
            </a:r>
          </a:p>
          <a:p>
            <a:pPr marL="216000" indent="-216000" defTabSz="1152144" eaLnBrk="1" hangingPunct="1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en-US" sz="1600" dirty="0">
                <a:latin typeface="+mn-lt"/>
                <a:ea typeface="+mn-ea"/>
              </a:rPr>
              <a:t>All critical issues are under </a:t>
            </a:r>
            <a:r>
              <a:rPr lang="en-US" sz="1600">
                <a:latin typeface="+mn-lt"/>
                <a:ea typeface="+mn-ea"/>
              </a:rPr>
              <a:t>control</a:t>
            </a:r>
            <a:r>
              <a:rPr lang="en-US" sz="1600" smtClean="0">
                <a:latin typeface="+mn-lt"/>
                <a:ea typeface="+mn-ea"/>
              </a:rPr>
              <a:t>. </a:t>
            </a:r>
            <a:r>
              <a:rPr lang="en-US" sz="1600" dirty="0">
                <a:latin typeface="+mn-lt"/>
                <a:ea typeface="+mn-ea"/>
              </a:rPr>
              <a:t>Business case and deliverables are on track. Customer is satisfied with T-Systems overall.</a:t>
            </a:r>
          </a:p>
        </p:txBody>
      </p:sp>
      <p:sp>
        <p:nvSpPr>
          <p:cNvPr id="10" name="AutoShape 5">
            <a:extLst>
              <a:ext uri="{FF2B5EF4-FFF2-40B4-BE49-F238E27FC236}">
                <a16:creationId xmlns="" xmlns:a16="http://schemas.microsoft.com/office/drawing/2014/main" id="{A4D59A33-46FF-40FA-A920-C616675DF6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364" y="4373170"/>
            <a:ext cx="2230437" cy="1368563"/>
          </a:xfrm>
          <a:prstGeom prst="rect">
            <a:avLst/>
          </a:prstGeom>
          <a:solidFill>
            <a:srgbClr val="6C6C6C"/>
          </a:solidFill>
          <a:ln w="19050" cap="sq" algn="ctr">
            <a:solidFill>
              <a:srgbClr val="6C6C6C"/>
            </a:solidFill>
            <a:miter lim="800000"/>
            <a:headEnd/>
            <a:tailEnd/>
          </a:ln>
          <a:effectLst/>
        </p:spPr>
        <p:txBody>
          <a:bodyPr lIns="108000" tIns="72000" rIns="108000" bIns="72000"/>
          <a:lstStyle/>
          <a:p>
            <a:pPr defTabSz="914400">
              <a:lnSpc>
                <a:spcPct val="90000"/>
              </a:lnSpc>
              <a:spcBef>
                <a:spcPct val="0"/>
              </a:spcBef>
            </a:pPr>
            <a:r>
              <a:rPr lang="en-US" sz="1800" dirty="0">
                <a:solidFill>
                  <a:schemeClr val="bg1"/>
                </a:solidFill>
                <a:latin typeface="Tele-GroteskFet" pitchFamily="2" charset="0"/>
                <a:cs typeface="Arial Unicode MS"/>
              </a:rPr>
              <a:t>Green</a:t>
            </a:r>
          </a:p>
        </p:txBody>
      </p:sp>
      <p:pic>
        <p:nvPicPr>
          <p:cNvPr id="11" name="Grafik 10" descr="https://epmts.t-systems.com/_layouts/15/images/TS.EPM.Report/TrafficLight_Red_small.png">
            <a:extLst>
              <a:ext uri="{FF2B5EF4-FFF2-40B4-BE49-F238E27FC236}">
                <a16:creationId xmlns="" xmlns:a16="http://schemas.microsoft.com/office/drawing/2014/main" id="{9043A0A6-348F-45FC-A177-13CD25B3357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371601" y="1630781"/>
            <a:ext cx="454528" cy="1079084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Grafik 11" descr="https://epmts.t-systems.com/_layouts/15/images/TS.EPM.Report/TrafficLight_Yellow_small.png">
            <a:extLst>
              <a:ext uri="{FF2B5EF4-FFF2-40B4-BE49-F238E27FC236}">
                <a16:creationId xmlns="" xmlns:a16="http://schemas.microsoft.com/office/drawing/2014/main" id="{DD145ABA-14BF-4A69-82F5-E70A5D4804E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371601" y="3073679"/>
            <a:ext cx="454528" cy="1079084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Grafik 12" descr="https://epmts.t-systems.com/_layouts/15/images/TS.EPM.Report/TrafficLight_Green_small.png">
            <a:extLst>
              <a:ext uri="{FF2B5EF4-FFF2-40B4-BE49-F238E27FC236}">
                <a16:creationId xmlns="" xmlns:a16="http://schemas.microsoft.com/office/drawing/2014/main" id="{C97C988D-23D2-418F-AFBB-272A6FAA1DB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371600" y="4517450"/>
            <a:ext cx="454887" cy="1080000"/>
          </a:xfrm>
          <a:prstGeom prst="rect">
            <a:avLst/>
          </a:prstGeom>
          <a:noFill/>
          <a:ln>
            <a:noFill/>
          </a:ln>
        </p:spPr>
      </p:pic>
      <p:sp>
        <p:nvSpPr>
          <p:cNvPr id="14" name="Rechteck 13">
            <a:extLst>
              <a:ext uri="{FF2B5EF4-FFF2-40B4-BE49-F238E27FC236}">
                <a16:creationId xmlns="" xmlns:a16="http://schemas.microsoft.com/office/drawing/2014/main" id="{F7DF7777-D152-439B-B78E-7B8440A67977}"/>
              </a:ext>
            </a:extLst>
          </p:cNvPr>
          <p:cNvSpPr/>
          <p:nvPr/>
        </p:nvSpPr>
        <p:spPr bwMode="gray">
          <a:xfrm>
            <a:off x="360364" y="5879423"/>
            <a:ext cx="9359637" cy="676266"/>
          </a:xfrm>
          <a:prstGeom prst="rect">
            <a:avLst/>
          </a:prstGeom>
          <a:solidFill>
            <a:schemeClr val="tx2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108000" tIns="72000" rIns="36000" bIns="72000" rtlCol="0" anchor="ctr" anchorCtr="0"/>
          <a:lstStyle/>
          <a:p>
            <a:pPr algn="ctr" defTabSz="457293" fontAlgn="base">
              <a:lnSpc>
                <a:spcPct val="90000"/>
              </a:lnSpc>
              <a:spcBef>
                <a:spcPts val="900"/>
              </a:spcBef>
              <a:buClr>
                <a:srgbClr val="E20074"/>
              </a:buClr>
              <a:buSzPct val="75000"/>
            </a:pPr>
            <a:r>
              <a:rPr lang="en-US" sz="1800" dirty="0">
                <a:solidFill>
                  <a:schemeClr val="bg1"/>
                </a:solidFill>
                <a:latin typeface="Tele-GroteskFet" pitchFamily="2" charset="0"/>
              </a:rPr>
              <a:t>Always applicable: If project status or one of the reported KPIs (time, budget, quality) </a:t>
            </a:r>
            <a:br>
              <a:rPr lang="en-US" sz="1800" dirty="0">
                <a:solidFill>
                  <a:schemeClr val="bg1"/>
                </a:solidFill>
                <a:latin typeface="Tele-GroteskFet" pitchFamily="2" charset="0"/>
              </a:rPr>
            </a:br>
            <a:r>
              <a:rPr lang="en-US" sz="1800" dirty="0">
                <a:solidFill>
                  <a:schemeClr val="bg1"/>
                </a:solidFill>
                <a:latin typeface="Tele-GroteskFet" pitchFamily="2" charset="0"/>
              </a:rPr>
              <a:t>is not green, back to green measures need to be set up as soon as possible.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PTE MIK PM1 2018/19-1        -        PMO Basics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4277280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65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94513" y="3535349"/>
            <a:ext cx="2695575" cy="284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185B2FC-D18E-4EA2-A103-6DCF88856111}" type="slidenum">
              <a:rPr lang="en-US" noProof="0" smtClean="0"/>
              <a:pPr/>
              <a:t>28</a:t>
            </a:fld>
            <a:endParaRPr lang="en-US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mtClean="0"/>
              <a:t>PMO success factors</a:t>
            </a:r>
            <a:endParaRPr lang="en-US"/>
          </a:p>
        </p:txBody>
      </p:sp>
      <p:sp>
        <p:nvSpPr>
          <p:cNvPr id="6" name="Rectangle 21"/>
          <p:cNvSpPr>
            <a:spLocks noChangeAspect="1" noChangeArrowheads="1"/>
          </p:cNvSpPr>
          <p:nvPr/>
        </p:nvSpPr>
        <p:spPr bwMode="gray">
          <a:xfrm rot="21180000">
            <a:off x="2200417" y="721240"/>
            <a:ext cx="2194710" cy="2194710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  <a:extLst/>
        </p:spPr>
        <p:txBody>
          <a:bodyPr wrap="square" lIns="0" tIns="0" rIns="0" bIns="0" anchor="ctr" anchorCtr="0">
            <a:noAutofit/>
          </a:bodyPr>
          <a:lstStyle>
            <a:lvl1pPr marL="1588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>
              <a:lnSpc>
                <a:spcPct val="90000"/>
              </a:lnSpc>
              <a:spcBef>
                <a:spcPts val="0"/>
              </a:spcBef>
            </a:pPr>
            <a:r>
              <a:rPr lang="en-US" altLang="de-DE" sz="1800">
                <a:solidFill>
                  <a:srgbClr val="000000"/>
                </a:solidFill>
                <a:latin typeface="TeleGrotesk Headline Ultra" pitchFamily="2" charset="0"/>
              </a:rPr>
              <a:t>The role of the PMO must be clearly </a:t>
            </a:r>
            <a:r>
              <a:rPr lang="en-US" altLang="de-DE" sz="1800" smtClean="0">
                <a:solidFill>
                  <a:srgbClr val="000000"/>
                </a:solidFill>
                <a:latin typeface="TeleGrotesk Headline Ultra" pitchFamily="2" charset="0"/>
              </a:rPr>
              <a:t>defined</a:t>
            </a:r>
            <a:endParaRPr lang="en-US" altLang="de-DE" sz="1800" dirty="0">
              <a:solidFill>
                <a:srgbClr val="000000"/>
              </a:solidFill>
              <a:latin typeface="TeleGrotesk Headline Ultra" pitchFamily="2" charset="0"/>
            </a:endParaRPr>
          </a:p>
        </p:txBody>
      </p:sp>
      <p:sp>
        <p:nvSpPr>
          <p:cNvPr id="7" name="Rectangle 21"/>
          <p:cNvSpPr>
            <a:spLocks noChangeAspect="1" noChangeArrowheads="1"/>
          </p:cNvSpPr>
          <p:nvPr/>
        </p:nvSpPr>
        <p:spPr bwMode="gray">
          <a:xfrm>
            <a:off x="4685871" y="454891"/>
            <a:ext cx="2893522" cy="2893522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/>
        </p:spPr>
        <p:txBody>
          <a:bodyPr wrap="square" lIns="0" tIns="0" rIns="0" bIns="0" anchor="ctr" anchorCtr="0">
            <a:noAutofit/>
          </a:bodyPr>
          <a:lstStyle>
            <a:lvl1pPr marL="1588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>
              <a:lnSpc>
                <a:spcPct val="90000"/>
              </a:lnSpc>
              <a:spcBef>
                <a:spcPts val="0"/>
              </a:spcBef>
            </a:pPr>
            <a:r>
              <a:rPr lang="en-US" altLang="de-DE" sz="2200" smtClean="0">
                <a:solidFill>
                  <a:schemeClr val="bg1"/>
                </a:solidFill>
                <a:latin typeface="TeleGrotesk Headline Ultra" pitchFamily="2" charset="0"/>
              </a:rPr>
              <a:t>commitment </a:t>
            </a:r>
            <a:r>
              <a:rPr lang="en-US" altLang="de-DE" sz="2200">
                <a:solidFill>
                  <a:schemeClr val="bg1"/>
                </a:solidFill>
                <a:latin typeface="TeleGrotesk Headline Ultra" pitchFamily="2" charset="0"/>
              </a:rPr>
              <a:t>of executive management is </a:t>
            </a:r>
            <a:r>
              <a:rPr lang="hu-HU" altLang="de-DE" sz="2200" smtClean="0">
                <a:solidFill>
                  <a:schemeClr val="bg1"/>
                </a:solidFill>
                <a:latin typeface="TeleGrotesk Headline Ultra" pitchFamily="2" charset="0"/>
              </a:rPr>
              <a:t>crucial</a:t>
            </a:r>
            <a:endParaRPr lang="en-US" altLang="de-DE" sz="2200" dirty="0">
              <a:solidFill>
                <a:schemeClr val="bg1"/>
              </a:solidFill>
              <a:latin typeface="TeleGrotesk Headline Ultra" pitchFamily="2" charset="0"/>
            </a:endParaRPr>
          </a:p>
        </p:txBody>
      </p:sp>
      <p:sp>
        <p:nvSpPr>
          <p:cNvPr id="8" name="Rectangle 21"/>
          <p:cNvSpPr>
            <a:spLocks noChangeAspect="1" noChangeArrowheads="1"/>
          </p:cNvSpPr>
          <p:nvPr/>
        </p:nvSpPr>
        <p:spPr bwMode="gray">
          <a:xfrm rot="301430">
            <a:off x="6598965" y="3613398"/>
            <a:ext cx="2995625" cy="2995625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/>
          <a:extLst/>
        </p:spPr>
        <p:txBody>
          <a:bodyPr wrap="square" lIns="0" tIns="0" rIns="0" bIns="0" anchor="ctr" anchorCtr="0">
            <a:noAutofit/>
          </a:bodyPr>
          <a:lstStyle>
            <a:lvl1pPr marL="1588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>
              <a:lnSpc>
                <a:spcPct val="90000"/>
              </a:lnSpc>
              <a:spcBef>
                <a:spcPts val="0"/>
              </a:spcBef>
            </a:pPr>
            <a:r>
              <a:rPr lang="en-US" altLang="de-DE" sz="1800" smtClean="0">
                <a:solidFill>
                  <a:srgbClr val="000000"/>
                </a:solidFill>
                <a:latin typeface="TeleGrotesk Headline Ultra" pitchFamily="2" charset="0"/>
              </a:rPr>
              <a:t>The </a:t>
            </a:r>
            <a:r>
              <a:rPr lang="en-US" altLang="de-DE" sz="1800">
                <a:solidFill>
                  <a:srgbClr val="000000"/>
                </a:solidFill>
                <a:latin typeface="TeleGrotesk Headline Ultra" pitchFamily="2" charset="0"/>
              </a:rPr>
              <a:t>PMO will </a:t>
            </a:r>
            <a:r>
              <a:rPr lang="hu-HU" altLang="de-DE" sz="1800" smtClean="0">
                <a:solidFill>
                  <a:srgbClr val="000000"/>
                </a:solidFill>
                <a:latin typeface="TeleGrotesk Headline Ultra" pitchFamily="2" charset="0"/>
              </a:rPr>
              <a:t>only</a:t>
            </a:r>
            <a:r>
              <a:rPr lang="en-US" altLang="de-DE" sz="1800" smtClean="0">
                <a:solidFill>
                  <a:srgbClr val="000000"/>
                </a:solidFill>
                <a:latin typeface="TeleGrotesk Headline Ultra" pitchFamily="2" charset="0"/>
              </a:rPr>
              <a:t> </a:t>
            </a:r>
            <a:r>
              <a:rPr lang="en-US" altLang="de-DE" sz="1800">
                <a:solidFill>
                  <a:srgbClr val="000000"/>
                </a:solidFill>
                <a:latin typeface="TeleGrotesk Headline Ultra" pitchFamily="2" charset="0"/>
              </a:rPr>
              <a:t>improve project performance </a:t>
            </a:r>
            <a:r>
              <a:rPr lang="hu-HU" altLang="de-DE" sz="1800" smtClean="0">
                <a:solidFill>
                  <a:srgbClr val="000000"/>
                </a:solidFill>
                <a:latin typeface="TeleGrotesk Headline Ultra" pitchFamily="2" charset="0"/>
              </a:rPr>
              <a:t>if</a:t>
            </a:r>
            <a:r>
              <a:rPr lang="en-US" altLang="de-DE" sz="1800" smtClean="0">
                <a:solidFill>
                  <a:srgbClr val="000000"/>
                </a:solidFill>
                <a:latin typeface="TeleGrotesk Headline Ultra" pitchFamily="2" charset="0"/>
              </a:rPr>
              <a:t> </a:t>
            </a:r>
            <a:r>
              <a:rPr lang="hu-HU" altLang="de-DE" sz="1800" smtClean="0">
                <a:solidFill>
                  <a:srgbClr val="000000"/>
                </a:solidFill>
                <a:latin typeface="TeleGrotesk Headline Ultra" pitchFamily="2" charset="0"/>
              </a:rPr>
              <a:t>usage of </a:t>
            </a:r>
            <a:r>
              <a:rPr lang="en-US" altLang="de-DE" sz="1800" smtClean="0">
                <a:solidFill>
                  <a:srgbClr val="000000"/>
                </a:solidFill>
                <a:latin typeface="TeleGrotesk Headline Ultra" pitchFamily="2" charset="0"/>
              </a:rPr>
              <a:t>proper processes </a:t>
            </a:r>
            <a:r>
              <a:rPr lang="en-US" altLang="de-DE" sz="1800">
                <a:solidFill>
                  <a:srgbClr val="000000"/>
                </a:solidFill>
                <a:latin typeface="TeleGrotesk Headline Ultra" pitchFamily="2" charset="0"/>
              </a:rPr>
              <a:t>and </a:t>
            </a:r>
            <a:r>
              <a:rPr lang="en-US" altLang="de-DE" sz="1800" smtClean="0">
                <a:solidFill>
                  <a:srgbClr val="000000"/>
                </a:solidFill>
                <a:latin typeface="TeleGrotesk Headline Ultra" pitchFamily="2" charset="0"/>
              </a:rPr>
              <a:t>techniques</a:t>
            </a:r>
            <a:r>
              <a:rPr lang="hu-HU" altLang="de-DE" sz="1800" smtClean="0">
                <a:solidFill>
                  <a:srgbClr val="000000"/>
                </a:solidFill>
                <a:latin typeface="TeleGrotesk Headline Ultra" pitchFamily="2" charset="0"/>
              </a:rPr>
              <a:t> are encouraged</a:t>
            </a:r>
            <a:endParaRPr lang="en-US" altLang="de-DE" sz="1800" dirty="0">
              <a:solidFill>
                <a:srgbClr val="000000"/>
              </a:solidFill>
              <a:latin typeface="TeleGrotesk Headline Ultra" pitchFamily="2" charset="0"/>
            </a:endParaRPr>
          </a:p>
        </p:txBody>
      </p:sp>
      <p:sp>
        <p:nvSpPr>
          <p:cNvPr id="9" name="Rectangle 21"/>
          <p:cNvSpPr>
            <a:spLocks noChangeAspect="1" noChangeArrowheads="1"/>
          </p:cNvSpPr>
          <p:nvPr/>
        </p:nvSpPr>
        <p:spPr bwMode="gray">
          <a:xfrm rot="21123536">
            <a:off x="336879" y="2416507"/>
            <a:ext cx="2237417" cy="2237417"/>
          </a:xfrm>
          <a:prstGeom prst="ellipse">
            <a:avLst/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lIns="0" tIns="0" rIns="0" bIns="0" anchor="ctr" anchorCtr="0">
            <a:noAutofit/>
          </a:bodyPr>
          <a:lstStyle>
            <a:lvl1pPr marL="1588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>
              <a:lnSpc>
                <a:spcPct val="90000"/>
              </a:lnSpc>
              <a:spcBef>
                <a:spcPts val="0"/>
              </a:spcBef>
            </a:pPr>
            <a:r>
              <a:rPr lang="hu-HU" altLang="de-DE" sz="2000" smtClean="0">
                <a:solidFill>
                  <a:srgbClr val="000000"/>
                </a:solidFill>
                <a:latin typeface="TeleGrotesk Headline Ultra" pitchFamily="2" charset="0"/>
              </a:rPr>
              <a:t>Not mature enough?</a:t>
            </a:r>
          </a:p>
          <a:p>
            <a:pPr algn="ctr">
              <a:lnSpc>
                <a:spcPct val="90000"/>
              </a:lnSpc>
              <a:spcBef>
                <a:spcPts val="0"/>
              </a:spcBef>
            </a:pPr>
            <a:r>
              <a:rPr lang="hu-HU" altLang="de-DE" sz="2000" smtClean="0">
                <a:solidFill>
                  <a:srgbClr val="000000"/>
                </a:solidFill>
                <a:latin typeface="TeleGrotesk Headline Ultra" pitchFamily="2" charset="0"/>
              </a:rPr>
              <a:t>Focus on </a:t>
            </a:r>
            <a:r>
              <a:rPr lang="en-US" altLang="de-DE" sz="2000" smtClean="0">
                <a:solidFill>
                  <a:srgbClr val="000000"/>
                </a:solidFill>
                <a:latin typeface="TeleGrotesk Headline Ultra" pitchFamily="2" charset="0"/>
              </a:rPr>
              <a:t>Quick-wins</a:t>
            </a:r>
            <a:endParaRPr lang="en-US" altLang="de-DE" sz="2000">
              <a:solidFill>
                <a:srgbClr val="000000"/>
              </a:solidFill>
              <a:latin typeface="TeleGrotesk Headline Ultra" pitchFamily="2" charset="0"/>
            </a:endParaRPr>
          </a:p>
        </p:txBody>
      </p:sp>
      <p:sp>
        <p:nvSpPr>
          <p:cNvPr id="10" name="Rectangle 21"/>
          <p:cNvSpPr>
            <a:spLocks noChangeAspect="1" noChangeArrowheads="1"/>
          </p:cNvSpPr>
          <p:nvPr/>
        </p:nvSpPr>
        <p:spPr bwMode="gray">
          <a:xfrm rot="21418032">
            <a:off x="1674025" y="4592459"/>
            <a:ext cx="2088196" cy="2088196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/>
          <a:extLst/>
        </p:spPr>
        <p:txBody>
          <a:bodyPr wrap="square" lIns="0" tIns="0" rIns="0" bIns="0" anchor="ctr" anchorCtr="0">
            <a:noAutofit/>
          </a:bodyPr>
          <a:lstStyle>
            <a:lvl1pPr marL="1588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>
              <a:lnSpc>
                <a:spcPct val="90000"/>
              </a:lnSpc>
              <a:spcBef>
                <a:spcPts val="0"/>
              </a:spcBef>
            </a:pPr>
            <a:r>
              <a:rPr lang="hu-HU" altLang="de-DE" sz="1800" smtClean="0">
                <a:solidFill>
                  <a:srgbClr val="000000"/>
                </a:solidFill>
                <a:latin typeface="TeleGrotesk Headline Ultra" pitchFamily="2" charset="0"/>
              </a:rPr>
              <a:t>Pmp certification for mature PMO members</a:t>
            </a:r>
            <a:endParaRPr lang="en-US" altLang="de-DE" sz="1800" dirty="0">
              <a:solidFill>
                <a:srgbClr val="000000"/>
              </a:solidFill>
              <a:latin typeface="TeleGrotesk Headline Ultra" pitchFamily="2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PTE MIK PM1 2018/19-1        -        PMO Basics</a:t>
            </a:r>
            <a:endParaRPr lang="en-US" noProof="0" dirty="0" smtClean="0"/>
          </a:p>
        </p:txBody>
      </p:sp>
      <p:sp>
        <p:nvSpPr>
          <p:cNvPr id="11" name="Rectangle 21"/>
          <p:cNvSpPr>
            <a:spLocks noChangeAspect="1" noChangeArrowheads="1"/>
          </p:cNvSpPr>
          <p:nvPr/>
        </p:nvSpPr>
        <p:spPr bwMode="gray">
          <a:xfrm rot="290906">
            <a:off x="7669283" y="969665"/>
            <a:ext cx="2221091" cy="2221091"/>
          </a:xfrm>
          <a:prstGeom prst="ellipse">
            <a:avLst/>
          </a:prstGeom>
          <a:solidFill>
            <a:schemeClr val="accent4"/>
          </a:solidFill>
          <a:ln>
            <a:noFill/>
          </a:ln>
          <a:effectLst/>
          <a:extLst/>
        </p:spPr>
        <p:txBody>
          <a:bodyPr wrap="square" lIns="0" tIns="0" rIns="0" bIns="0" anchor="ctr" anchorCtr="0">
            <a:noAutofit/>
          </a:bodyPr>
          <a:lstStyle>
            <a:lvl1pPr marL="1588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>
              <a:lnSpc>
                <a:spcPct val="90000"/>
              </a:lnSpc>
              <a:spcBef>
                <a:spcPts val="0"/>
              </a:spcBef>
            </a:pPr>
            <a:r>
              <a:rPr lang="en-US" altLang="de-DE" sz="2000">
                <a:solidFill>
                  <a:srgbClr val="000000"/>
                </a:solidFill>
                <a:latin typeface="TeleGrotesk Headline Ultra" pitchFamily="2" charset="0"/>
              </a:rPr>
              <a:t>Learn how to walk before you </a:t>
            </a:r>
            <a:r>
              <a:rPr lang="en-US" altLang="de-DE" sz="2000" smtClean="0">
                <a:solidFill>
                  <a:srgbClr val="000000"/>
                </a:solidFill>
                <a:latin typeface="TeleGrotesk Headline Ultra" pitchFamily="2" charset="0"/>
              </a:rPr>
              <a:t>t</a:t>
            </a:r>
            <a:r>
              <a:rPr lang="hu-HU" altLang="de-DE" sz="2000" smtClean="0">
                <a:solidFill>
                  <a:srgbClr val="000000"/>
                </a:solidFill>
                <a:latin typeface="TeleGrotesk Headline Ultra" pitchFamily="2" charset="0"/>
              </a:rPr>
              <a:t>ry</a:t>
            </a:r>
            <a:r>
              <a:rPr lang="en-US" altLang="de-DE" sz="2000" smtClean="0">
                <a:solidFill>
                  <a:srgbClr val="000000"/>
                </a:solidFill>
                <a:latin typeface="TeleGrotesk Headline Ultra" pitchFamily="2" charset="0"/>
              </a:rPr>
              <a:t> </a:t>
            </a:r>
            <a:r>
              <a:rPr lang="en-US" altLang="de-DE" sz="2000">
                <a:solidFill>
                  <a:srgbClr val="000000"/>
                </a:solidFill>
                <a:latin typeface="TeleGrotesk Headline Ultra" pitchFamily="2" charset="0"/>
              </a:rPr>
              <a:t>to run</a:t>
            </a:r>
          </a:p>
        </p:txBody>
      </p:sp>
    </p:spTree>
    <p:extLst>
      <p:ext uri="{BB962C8B-B14F-4D97-AF65-F5344CB8AC3E}">
        <p14:creationId xmlns:p14="http://schemas.microsoft.com/office/powerpoint/2010/main" val="3734756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Rectangle 21"/>
          <p:cNvSpPr>
            <a:spLocks noChangeAspect="1" noChangeArrowheads="1"/>
          </p:cNvSpPr>
          <p:nvPr/>
        </p:nvSpPr>
        <p:spPr bwMode="gray">
          <a:xfrm>
            <a:off x="360001" y="1120085"/>
            <a:ext cx="1499669" cy="1499669"/>
          </a:xfrm>
          <a:prstGeom prst="ellipse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  <a:effectLst>
            <a:glow rad="368300">
              <a:schemeClr val="accent4">
                <a:lumMod val="60000"/>
                <a:lumOff val="40000"/>
                <a:alpha val="98000"/>
              </a:schemeClr>
            </a:glow>
          </a:effectLst>
          <a:extLst/>
        </p:spPr>
        <p:txBody>
          <a:bodyPr wrap="square" lIns="0" tIns="0" rIns="0" bIns="0" anchor="ctr" anchorCtr="0">
            <a:noAutofit/>
          </a:bodyPr>
          <a:lstStyle>
            <a:lvl1pPr marL="1588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>
              <a:lnSpc>
                <a:spcPct val="90000"/>
              </a:lnSpc>
              <a:spcBef>
                <a:spcPts val="0"/>
              </a:spcBef>
            </a:pPr>
            <a:endParaRPr lang="en-US" altLang="de-DE" sz="1800" dirty="0">
              <a:solidFill>
                <a:srgbClr val="000000"/>
              </a:solidFill>
              <a:latin typeface="TeleGrotesk Headline Ultra" pitchFamily="2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185B2FC-D18E-4EA2-A103-6DCF88856111}" type="slidenum">
              <a:rPr lang="en-US" noProof="0" smtClean="0"/>
              <a:pPr/>
              <a:t>3</a:t>
            </a:fld>
            <a:endParaRPr lang="en-US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mtClean="0"/>
              <a:t>History of PMO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PTE MIK PM1 2018/19-1        -        PMO Basics</a:t>
            </a:r>
            <a:endParaRPr lang="en-US" noProof="0" dirty="0" smtClean="0"/>
          </a:p>
        </p:txBody>
      </p:sp>
      <p:sp>
        <p:nvSpPr>
          <p:cNvPr id="7" name="Rectangle 6"/>
          <p:cNvSpPr/>
          <p:nvPr/>
        </p:nvSpPr>
        <p:spPr>
          <a:xfrm>
            <a:off x="632958" y="2619754"/>
            <a:ext cx="95375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hu-HU" sz="1400"/>
              <a:t> </a:t>
            </a:r>
            <a:r>
              <a:rPr lang="hu-HU" sz="2400"/>
              <a:t>1910</a:t>
            </a:r>
          </a:p>
        </p:txBody>
      </p:sp>
      <p:sp>
        <p:nvSpPr>
          <p:cNvPr id="10" name="Rectangle 21"/>
          <p:cNvSpPr>
            <a:spLocks noChangeAspect="1" noChangeArrowheads="1"/>
          </p:cNvSpPr>
          <p:nvPr/>
        </p:nvSpPr>
        <p:spPr bwMode="gray">
          <a:xfrm>
            <a:off x="2775745" y="1694201"/>
            <a:ext cx="1315634" cy="1315634"/>
          </a:xfrm>
          <a:prstGeom prst="ellipse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  <a:effectLst>
            <a:glow rad="419100">
              <a:schemeClr val="accent5">
                <a:satMod val="175000"/>
                <a:alpha val="40000"/>
              </a:schemeClr>
            </a:glow>
          </a:effectLst>
          <a:extLst/>
        </p:spPr>
        <p:txBody>
          <a:bodyPr wrap="square" lIns="0" tIns="0" rIns="0" bIns="0" anchor="ctr" anchorCtr="0">
            <a:noAutofit/>
          </a:bodyPr>
          <a:lstStyle>
            <a:lvl1pPr marL="1588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>
              <a:lnSpc>
                <a:spcPct val="90000"/>
              </a:lnSpc>
              <a:spcBef>
                <a:spcPts val="0"/>
              </a:spcBef>
            </a:pPr>
            <a:endParaRPr lang="en-US" altLang="de-DE" sz="1800" dirty="0">
              <a:solidFill>
                <a:srgbClr val="000000"/>
              </a:solidFill>
              <a:latin typeface="TeleGrotesk Headline Ultra" pitchFamily="2" charset="0"/>
            </a:endParaRPr>
          </a:p>
        </p:txBody>
      </p:sp>
      <p:pic>
        <p:nvPicPr>
          <p:cNvPr id="29698" name="Picture 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-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7425" y="1281718"/>
            <a:ext cx="1024820" cy="1176401"/>
          </a:xfrm>
          <a:prstGeom prst="rect">
            <a:avLst/>
          </a:prstGeom>
          <a:gradFill>
            <a:gsLst>
              <a:gs pos="56000">
                <a:schemeClr val="accent5">
                  <a:lumMod val="75000"/>
                </a:schemeClr>
              </a:gs>
              <a:gs pos="0">
                <a:schemeClr val="accent3"/>
              </a:gs>
              <a:gs pos="80000">
                <a:schemeClr val="accent4">
                  <a:lumMod val="40000"/>
                  <a:lumOff val="60000"/>
                </a:schemeClr>
              </a:gs>
            </a:gsLst>
            <a:lin ang="10800000" scaled="1"/>
          </a:gradFill>
          <a:ln>
            <a:noFill/>
          </a:ln>
          <a:effectLst>
            <a:softEdge rad="266700"/>
          </a:effectLst>
        </p:spPr>
      </p:pic>
      <p:pic>
        <p:nvPicPr>
          <p:cNvPr id="29700" name="Picture 4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16000" y="511261"/>
            <a:ext cx="313547" cy="29808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Rectangle 22"/>
          <p:cNvSpPr/>
          <p:nvPr/>
        </p:nvSpPr>
        <p:spPr>
          <a:xfrm>
            <a:off x="2458032" y="1209558"/>
            <a:ext cx="114499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hu-HU" sz="1400"/>
              <a:t> </a:t>
            </a:r>
            <a:r>
              <a:rPr lang="hu-HU" sz="2400"/>
              <a:t>1950s</a:t>
            </a:r>
          </a:p>
        </p:txBody>
      </p:sp>
    </p:spTree>
    <p:extLst>
      <p:ext uri="{BB962C8B-B14F-4D97-AF65-F5344CB8AC3E}">
        <p14:creationId xmlns:p14="http://schemas.microsoft.com/office/powerpoint/2010/main" val="1963906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Rectangle 21"/>
          <p:cNvSpPr>
            <a:spLocks noChangeAspect="1" noChangeArrowheads="1"/>
          </p:cNvSpPr>
          <p:nvPr/>
        </p:nvSpPr>
        <p:spPr bwMode="gray">
          <a:xfrm>
            <a:off x="360001" y="1120085"/>
            <a:ext cx="1499669" cy="1499669"/>
          </a:xfrm>
          <a:prstGeom prst="ellipse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  <a:effectLst>
            <a:glow rad="368300">
              <a:schemeClr val="accent4">
                <a:lumMod val="60000"/>
                <a:lumOff val="40000"/>
                <a:alpha val="98000"/>
              </a:schemeClr>
            </a:glow>
          </a:effectLst>
          <a:extLst/>
        </p:spPr>
        <p:txBody>
          <a:bodyPr wrap="square" lIns="0" tIns="0" rIns="0" bIns="0" anchor="ctr" anchorCtr="0">
            <a:noAutofit/>
          </a:bodyPr>
          <a:lstStyle>
            <a:lvl1pPr marL="1588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>
              <a:lnSpc>
                <a:spcPct val="90000"/>
              </a:lnSpc>
              <a:spcBef>
                <a:spcPts val="0"/>
              </a:spcBef>
            </a:pPr>
            <a:endParaRPr lang="en-US" altLang="de-DE" sz="1800" dirty="0">
              <a:solidFill>
                <a:srgbClr val="000000"/>
              </a:solidFill>
              <a:latin typeface="TeleGrotesk Headline Ultra" pitchFamily="2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185B2FC-D18E-4EA2-A103-6DCF88856111}" type="slidenum">
              <a:rPr lang="en-US" noProof="0" smtClean="0"/>
              <a:pPr/>
              <a:t>4</a:t>
            </a:fld>
            <a:endParaRPr lang="en-US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mtClean="0"/>
              <a:t>History of PMO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PTE MIK PM1 2018/19-1        -        PMO Basics</a:t>
            </a:r>
            <a:endParaRPr lang="en-US" noProof="0" dirty="0" smtClean="0"/>
          </a:p>
        </p:txBody>
      </p:sp>
      <p:sp>
        <p:nvSpPr>
          <p:cNvPr id="7" name="Rectangle 6"/>
          <p:cNvSpPr/>
          <p:nvPr/>
        </p:nvSpPr>
        <p:spPr>
          <a:xfrm>
            <a:off x="632958" y="2619754"/>
            <a:ext cx="95375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hu-HU" sz="1400"/>
              <a:t> </a:t>
            </a:r>
            <a:r>
              <a:rPr lang="hu-HU" sz="2400"/>
              <a:t>1910</a:t>
            </a:r>
          </a:p>
        </p:txBody>
      </p:sp>
      <p:sp>
        <p:nvSpPr>
          <p:cNvPr id="10" name="Rectangle 21"/>
          <p:cNvSpPr>
            <a:spLocks noChangeAspect="1" noChangeArrowheads="1"/>
          </p:cNvSpPr>
          <p:nvPr/>
        </p:nvSpPr>
        <p:spPr bwMode="gray">
          <a:xfrm>
            <a:off x="2775745" y="1694201"/>
            <a:ext cx="1315634" cy="1315634"/>
          </a:xfrm>
          <a:prstGeom prst="ellipse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  <a:effectLst>
            <a:glow rad="419100">
              <a:schemeClr val="accent5">
                <a:satMod val="175000"/>
                <a:alpha val="40000"/>
              </a:schemeClr>
            </a:glow>
          </a:effectLst>
          <a:extLst/>
        </p:spPr>
        <p:txBody>
          <a:bodyPr wrap="square" lIns="0" tIns="0" rIns="0" bIns="0" anchor="ctr" anchorCtr="0">
            <a:noAutofit/>
          </a:bodyPr>
          <a:lstStyle>
            <a:lvl1pPr marL="1588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>
              <a:lnSpc>
                <a:spcPct val="90000"/>
              </a:lnSpc>
              <a:spcBef>
                <a:spcPts val="0"/>
              </a:spcBef>
            </a:pPr>
            <a:endParaRPr lang="en-US" altLang="de-DE" sz="1800" dirty="0">
              <a:solidFill>
                <a:srgbClr val="000000"/>
              </a:solidFill>
              <a:latin typeface="TeleGrotesk Headline Ultra" pitchFamily="2" charset="0"/>
            </a:endParaRPr>
          </a:p>
        </p:txBody>
      </p:sp>
      <p:sp>
        <p:nvSpPr>
          <p:cNvPr id="11" name="Rectangle 21"/>
          <p:cNvSpPr>
            <a:spLocks noChangeAspect="1" noChangeArrowheads="1"/>
          </p:cNvSpPr>
          <p:nvPr/>
        </p:nvSpPr>
        <p:spPr bwMode="gray">
          <a:xfrm>
            <a:off x="6689322" y="1851876"/>
            <a:ext cx="1698693" cy="1698693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glow rad="190500">
              <a:schemeClr val="accent2">
                <a:satMod val="175000"/>
                <a:alpha val="40000"/>
              </a:schemeClr>
            </a:glow>
          </a:effectLst>
          <a:extLst/>
        </p:spPr>
        <p:txBody>
          <a:bodyPr wrap="square" lIns="0" tIns="0" rIns="0" bIns="0" anchor="ctr" anchorCtr="0">
            <a:noAutofit/>
          </a:bodyPr>
          <a:lstStyle>
            <a:lvl1pPr marL="1588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>
              <a:lnSpc>
                <a:spcPct val="90000"/>
              </a:lnSpc>
              <a:spcBef>
                <a:spcPts val="0"/>
              </a:spcBef>
            </a:pPr>
            <a:endParaRPr lang="en-US" altLang="de-DE" sz="1800" dirty="0">
              <a:solidFill>
                <a:srgbClr val="000000"/>
              </a:solidFill>
              <a:latin typeface="TeleGrotesk Headline Ultra" pitchFamily="2" charset="0"/>
            </a:endParaRPr>
          </a:p>
        </p:txBody>
      </p:sp>
      <p:sp>
        <p:nvSpPr>
          <p:cNvPr id="12" name="Rectangle 21"/>
          <p:cNvSpPr>
            <a:spLocks noChangeAspect="1" noChangeArrowheads="1"/>
          </p:cNvSpPr>
          <p:nvPr/>
        </p:nvSpPr>
        <p:spPr bwMode="gray">
          <a:xfrm>
            <a:off x="5319241" y="1043714"/>
            <a:ext cx="1699949" cy="1699949"/>
          </a:xfrm>
          <a:prstGeom prst="ellipse">
            <a:avLst/>
          </a:prstGeom>
          <a:solidFill>
            <a:schemeClr val="bg1"/>
          </a:solidFill>
          <a:ln w="15875">
            <a:solidFill>
              <a:schemeClr val="bg2">
                <a:lumMod val="75000"/>
              </a:schemeClr>
            </a:solidFill>
          </a:ln>
          <a:effectLst>
            <a:glow rad="419100">
              <a:schemeClr val="accent3">
                <a:satMod val="175000"/>
                <a:alpha val="40000"/>
              </a:schemeClr>
            </a:glow>
          </a:effectLst>
          <a:extLst/>
        </p:spPr>
        <p:txBody>
          <a:bodyPr wrap="square" lIns="0" tIns="0" rIns="0" bIns="0" anchor="ctr" anchorCtr="0">
            <a:noAutofit/>
          </a:bodyPr>
          <a:lstStyle>
            <a:lvl1pPr marL="1588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>
              <a:lnSpc>
                <a:spcPct val="90000"/>
              </a:lnSpc>
              <a:spcBef>
                <a:spcPts val="0"/>
              </a:spcBef>
            </a:pPr>
            <a:endParaRPr lang="en-US" altLang="de-DE" sz="1800" dirty="0">
              <a:solidFill>
                <a:srgbClr val="000000"/>
              </a:solidFill>
              <a:latin typeface="TeleGrotesk Headline Ultra" pitchFamily="2" charset="0"/>
            </a:endParaRPr>
          </a:p>
        </p:txBody>
      </p:sp>
      <p:pic>
        <p:nvPicPr>
          <p:cNvPr id="29698" name="Picture 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-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7425" y="1281718"/>
            <a:ext cx="1024820" cy="1176401"/>
          </a:xfrm>
          <a:prstGeom prst="rect">
            <a:avLst/>
          </a:prstGeom>
          <a:gradFill>
            <a:gsLst>
              <a:gs pos="56000">
                <a:schemeClr val="accent5">
                  <a:lumMod val="75000"/>
                </a:schemeClr>
              </a:gs>
              <a:gs pos="0">
                <a:schemeClr val="accent3"/>
              </a:gs>
              <a:gs pos="80000">
                <a:schemeClr val="accent4">
                  <a:lumMod val="40000"/>
                  <a:lumOff val="60000"/>
                </a:schemeClr>
              </a:gs>
            </a:gsLst>
            <a:lin ang="10800000" scaled="1"/>
          </a:gradFill>
          <a:ln>
            <a:noFill/>
          </a:ln>
          <a:effectLst>
            <a:softEdge rad="266700"/>
          </a:effectLst>
        </p:spPr>
      </p:pic>
      <p:pic>
        <p:nvPicPr>
          <p:cNvPr id="29700" name="Picture 4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16000" y="511261"/>
            <a:ext cx="313547" cy="29808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Rectangle 22"/>
          <p:cNvSpPr/>
          <p:nvPr/>
        </p:nvSpPr>
        <p:spPr>
          <a:xfrm>
            <a:off x="2458032" y="1209558"/>
            <a:ext cx="114499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hu-HU" sz="1400"/>
              <a:t> </a:t>
            </a:r>
            <a:r>
              <a:rPr lang="hu-HU" sz="2400"/>
              <a:t>1950s</a:t>
            </a:r>
          </a:p>
        </p:txBody>
      </p:sp>
      <p:sp>
        <p:nvSpPr>
          <p:cNvPr id="24" name="Rectangle 23"/>
          <p:cNvSpPr/>
          <p:nvPr/>
        </p:nvSpPr>
        <p:spPr>
          <a:xfrm>
            <a:off x="6946868" y="1032486"/>
            <a:ext cx="134890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hu-HU" sz="1400"/>
              <a:t> </a:t>
            </a:r>
            <a:r>
              <a:rPr lang="hu-HU" sz="2400" smtClean="0"/>
              <a:t>1980s</a:t>
            </a:r>
            <a:endParaRPr lang="hu-HU" sz="2400"/>
          </a:p>
        </p:txBody>
      </p:sp>
      <p:pic>
        <p:nvPicPr>
          <p:cNvPr id="29715" name="Picture 19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20117" y="1314066"/>
            <a:ext cx="1719174" cy="1195235"/>
          </a:xfrm>
          <a:prstGeom prst="rect">
            <a:avLst/>
          </a:prstGeom>
          <a:noFill/>
          <a:ln>
            <a:noFill/>
          </a:ln>
          <a:effectLst>
            <a:softEdge rad="381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716" name="Picture 20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252410" y="2001684"/>
            <a:ext cx="1588163" cy="10478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79436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Rectangle 21"/>
          <p:cNvSpPr>
            <a:spLocks noChangeAspect="1" noChangeArrowheads="1"/>
          </p:cNvSpPr>
          <p:nvPr/>
        </p:nvSpPr>
        <p:spPr bwMode="gray">
          <a:xfrm>
            <a:off x="360001" y="1120085"/>
            <a:ext cx="1499669" cy="1499669"/>
          </a:xfrm>
          <a:prstGeom prst="ellipse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  <a:effectLst>
            <a:glow rad="368300">
              <a:schemeClr val="accent4">
                <a:lumMod val="60000"/>
                <a:lumOff val="40000"/>
                <a:alpha val="98000"/>
              </a:schemeClr>
            </a:glow>
          </a:effectLst>
          <a:extLst/>
        </p:spPr>
        <p:txBody>
          <a:bodyPr wrap="square" lIns="0" tIns="0" rIns="0" bIns="0" anchor="ctr" anchorCtr="0">
            <a:noAutofit/>
          </a:bodyPr>
          <a:lstStyle>
            <a:lvl1pPr marL="1588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>
              <a:lnSpc>
                <a:spcPct val="90000"/>
              </a:lnSpc>
              <a:spcBef>
                <a:spcPts val="0"/>
              </a:spcBef>
            </a:pPr>
            <a:endParaRPr lang="en-US" altLang="de-DE" sz="1800" dirty="0">
              <a:solidFill>
                <a:srgbClr val="000000"/>
              </a:solidFill>
              <a:latin typeface="TeleGrotesk Headline Ultra" pitchFamily="2" charset="0"/>
            </a:endParaRPr>
          </a:p>
        </p:txBody>
      </p:sp>
      <p:sp>
        <p:nvSpPr>
          <p:cNvPr id="51" name="Rectangle 21"/>
          <p:cNvSpPr>
            <a:spLocks noChangeAspect="1" noChangeArrowheads="1"/>
          </p:cNvSpPr>
          <p:nvPr/>
        </p:nvSpPr>
        <p:spPr bwMode="gray">
          <a:xfrm>
            <a:off x="454320" y="5107494"/>
            <a:ext cx="1113234" cy="1113234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glow rad="254000">
              <a:schemeClr val="accent1">
                <a:satMod val="175000"/>
                <a:alpha val="40000"/>
              </a:schemeClr>
            </a:glow>
          </a:effectLst>
          <a:extLst/>
        </p:spPr>
        <p:txBody>
          <a:bodyPr wrap="square" lIns="0" tIns="0" rIns="0" bIns="0" anchor="ctr" anchorCtr="0">
            <a:noAutofit/>
          </a:bodyPr>
          <a:lstStyle>
            <a:lvl1pPr marL="1588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>
              <a:lnSpc>
                <a:spcPct val="90000"/>
              </a:lnSpc>
              <a:spcBef>
                <a:spcPts val="0"/>
              </a:spcBef>
            </a:pPr>
            <a:endParaRPr lang="en-US" altLang="de-DE" sz="1800" dirty="0">
              <a:solidFill>
                <a:srgbClr val="000000"/>
              </a:solidFill>
              <a:latin typeface="TeleGrotesk Headline Ultra" pitchFamily="2" charset="0"/>
            </a:endParaRPr>
          </a:p>
        </p:txBody>
      </p:sp>
      <p:sp>
        <p:nvSpPr>
          <p:cNvPr id="50" name="Rectangle 21"/>
          <p:cNvSpPr>
            <a:spLocks noChangeAspect="1" noChangeArrowheads="1"/>
          </p:cNvSpPr>
          <p:nvPr/>
        </p:nvSpPr>
        <p:spPr bwMode="gray">
          <a:xfrm>
            <a:off x="609267" y="3868965"/>
            <a:ext cx="1113234" cy="1113234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glow rad="139700">
              <a:schemeClr val="accent1">
                <a:satMod val="175000"/>
                <a:alpha val="40000"/>
              </a:schemeClr>
            </a:glow>
          </a:effectLst>
          <a:extLst/>
        </p:spPr>
        <p:txBody>
          <a:bodyPr wrap="square" lIns="0" tIns="0" rIns="0" bIns="0" anchor="ctr" anchorCtr="0">
            <a:noAutofit/>
          </a:bodyPr>
          <a:lstStyle>
            <a:lvl1pPr marL="1588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>
              <a:lnSpc>
                <a:spcPct val="90000"/>
              </a:lnSpc>
              <a:spcBef>
                <a:spcPts val="0"/>
              </a:spcBef>
            </a:pPr>
            <a:endParaRPr lang="en-US" altLang="de-DE" sz="1800" dirty="0">
              <a:solidFill>
                <a:srgbClr val="000000"/>
              </a:solidFill>
              <a:latin typeface="TeleGrotesk Headline Ultra" pitchFamily="2" charset="0"/>
            </a:endParaRPr>
          </a:p>
        </p:txBody>
      </p:sp>
      <p:sp>
        <p:nvSpPr>
          <p:cNvPr id="49" name="Rectangle 21"/>
          <p:cNvSpPr>
            <a:spLocks noChangeAspect="1" noChangeArrowheads="1"/>
          </p:cNvSpPr>
          <p:nvPr/>
        </p:nvSpPr>
        <p:spPr bwMode="gray">
          <a:xfrm>
            <a:off x="2595501" y="5366706"/>
            <a:ext cx="1113234" cy="1113234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glow rad="101600">
              <a:schemeClr val="accent1">
                <a:satMod val="175000"/>
                <a:alpha val="40000"/>
              </a:schemeClr>
            </a:glow>
          </a:effectLst>
          <a:extLst/>
        </p:spPr>
        <p:txBody>
          <a:bodyPr wrap="square" lIns="0" tIns="0" rIns="0" bIns="0" anchor="ctr" anchorCtr="0">
            <a:noAutofit/>
          </a:bodyPr>
          <a:lstStyle>
            <a:lvl1pPr marL="1588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>
              <a:lnSpc>
                <a:spcPct val="90000"/>
              </a:lnSpc>
              <a:spcBef>
                <a:spcPts val="0"/>
              </a:spcBef>
            </a:pPr>
            <a:endParaRPr lang="en-US" altLang="de-DE" sz="1800" dirty="0">
              <a:solidFill>
                <a:srgbClr val="000000"/>
              </a:solidFill>
              <a:latin typeface="TeleGrotesk Headline Ultra" pitchFamily="2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185B2FC-D18E-4EA2-A103-6DCF88856111}" type="slidenum">
              <a:rPr lang="en-US" noProof="0" smtClean="0"/>
              <a:pPr/>
              <a:t>5</a:t>
            </a:fld>
            <a:endParaRPr lang="en-US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mtClean="0"/>
              <a:t>History of PMO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PTE MIK PM1 2018/19-1        -        PMO Basics</a:t>
            </a:r>
            <a:endParaRPr lang="en-US" noProof="0" dirty="0" smtClean="0"/>
          </a:p>
        </p:txBody>
      </p:sp>
      <p:sp>
        <p:nvSpPr>
          <p:cNvPr id="7" name="Rectangle 6"/>
          <p:cNvSpPr/>
          <p:nvPr/>
        </p:nvSpPr>
        <p:spPr>
          <a:xfrm>
            <a:off x="632958" y="2619754"/>
            <a:ext cx="95375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hu-HU" sz="1400"/>
              <a:t> </a:t>
            </a:r>
            <a:r>
              <a:rPr lang="hu-HU" sz="2400"/>
              <a:t>1910</a:t>
            </a:r>
          </a:p>
        </p:txBody>
      </p:sp>
      <p:sp>
        <p:nvSpPr>
          <p:cNvPr id="10" name="Rectangle 21"/>
          <p:cNvSpPr>
            <a:spLocks noChangeAspect="1" noChangeArrowheads="1"/>
          </p:cNvSpPr>
          <p:nvPr/>
        </p:nvSpPr>
        <p:spPr bwMode="gray">
          <a:xfrm>
            <a:off x="2775745" y="1694201"/>
            <a:ext cx="1315634" cy="1315634"/>
          </a:xfrm>
          <a:prstGeom prst="ellipse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  <a:effectLst>
            <a:glow rad="419100">
              <a:schemeClr val="accent5">
                <a:satMod val="175000"/>
                <a:alpha val="40000"/>
              </a:schemeClr>
            </a:glow>
          </a:effectLst>
          <a:extLst/>
        </p:spPr>
        <p:txBody>
          <a:bodyPr wrap="square" lIns="0" tIns="0" rIns="0" bIns="0" anchor="ctr" anchorCtr="0">
            <a:noAutofit/>
          </a:bodyPr>
          <a:lstStyle>
            <a:lvl1pPr marL="1588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>
              <a:lnSpc>
                <a:spcPct val="90000"/>
              </a:lnSpc>
              <a:spcBef>
                <a:spcPts val="0"/>
              </a:spcBef>
            </a:pPr>
            <a:endParaRPr lang="en-US" altLang="de-DE" sz="1800" dirty="0">
              <a:solidFill>
                <a:srgbClr val="000000"/>
              </a:solidFill>
              <a:latin typeface="TeleGrotesk Headline Ultra" pitchFamily="2" charset="0"/>
            </a:endParaRPr>
          </a:p>
        </p:txBody>
      </p:sp>
      <p:sp>
        <p:nvSpPr>
          <p:cNvPr id="11" name="Rectangle 21"/>
          <p:cNvSpPr>
            <a:spLocks noChangeAspect="1" noChangeArrowheads="1"/>
          </p:cNvSpPr>
          <p:nvPr/>
        </p:nvSpPr>
        <p:spPr bwMode="gray">
          <a:xfrm>
            <a:off x="6689322" y="1851876"/>
            <a:ext cx="1698693" cy="1698693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glow rad="190500">
              <a:schemeClr val="accent2">
                <a:satMod val="175000"/>
                <a:alpha val="40000"/>
              </a:schemeClr>
            </a:glow>
          </a:effectLst>
          <a:extLst/>
        </p:spPr>
        <p:txBody>
          <a:bodyPr wrap="square" lIns="0" tIns="0" rIns="0" bIns="0" anchor="ctr" anchorCtr="0">
            <a:noAutofit/>
          </a:bodyPr>
          <a:lstStyle>
            <a:lvl1pPr marL="1588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>
              <a:lnSpc>
                <a:spcPct val="90000"/>
              </a:lnSpc>
              <a:spcBef>
                <a:spcPts val="0"/>
              </a:spcBef>
            </a:pPr>
            <a:endParaRPr lang="en-US" altLang="de-DE" sz="1800" dirty="0">
              <a:solidFill>
                <a:srgbClr val="000000"/>
              </a:solidFill>
              <a:latin typeface="TeleGrotesk Headline Ultra" pitchFamily="2" charset="0"/>
            </a:endParaRPr>
          </a:p>
        </p:txBody>
      </p:sp>
      <p:sp>
        <p:nvSpPr>
          <p:cNvPr id="12" name="Rectangle 21"/>
          <p:cNvSpPr>
            <a:spLocks noChangeAspect="1" noChangeArrowheads="1"/>
          </p:cNvSpPr>
          <p:nvPr/>
        </p:nvSpPr>
        <p:spPr bwMode="gray">
          <a:xfrm>
            <a:off x="5319241" y="1043714"/>
            <a:ext cx="1699949" cy="1699949"/>
          </a:xfrm>
          <a:prstGeom prst="ellipse">
            <a:avLst/>
          </a:prstGeom>
          <a:solidFill>
            <a:schemeClr val="bg1"/>
          </a:solidFill>
          <a:ln w="15875">
            <a:solidFill>
              <a:schemeClr val="bg2">
                <a:lumMod val="75000"/>
              </a:schemeClr>
            </a:solidFill>
          </a:ln>
          <a:effectLst>
            <a:glow rad="419100">
              <a:schemeClr val="accent3">
                <a:satMod val="175000"/>
                <a:alpha val="40000"/>
              </a:schemeClr>
            </a:glow>
          </a:effectLst>
          <a:extLst/>
        </p:spPr>
        <p:txBody>
          <a:bodyPr wrap="square" lIns="0" tIns="0" rIns="0" bIns="0" anchor="ctr" anchorCtr="0">
            <a:noAutofit/>
          </a:bodyPr>
          <a:lstStyle>
            <a:lvl1pPr marL="1588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>
              <a:lnSpc>
                <a:spcPct val="90000"/>
              </a:lnSpc>
              <a:spcBef>
                <a:spcPts val="0"/>
              </a:spcBef>
            </a:pPr>
            <a:endParaRPr lang="en-US" altLang="de-DE" sz="1800" dirty="0">
              <a:solidFill>
                <a:srgbClr val="000000"/>
              </a:solidFill>
              <a:latin typeface="TeleGrotesk Headline Ultra" pitchFamily="2" charset="0"/>
            </a:endParaRPr>
          </a:p>
        </p:txBody>
      </p:sp>
      <p:sp>
        <p:nvSpPr>
          <p:cNvPr id="14" name="Rectangle 21"/>
          <p:cNvSpPr>
            <a:spLocks noChangeAspect="1" noChangeArrowheads="1"/>
          </p:cNvSpPr>
          <p:nvPr/>
        </p:nvSpPr>
        <p:spPr bwMode="gray">
          <a:xfrm>
            <a:off x="1231900" y="4362741"/>
            <a:ext cx="1823977" cy="1823977"/>
          </a:xfrm>
          <a:prstGeom prst="ellipse">
            <a:avLst/>
          </a:prstGeom>
          <a:solidFill>
            <a:schemeClr val="bg1"/>
          </a:solidFill>
          <a:ln w="15875">
            <a:solidFill>
              <a:schemeClr val="tx1"/>
            </a:solidFill>
          </a:ln>
          <a:effectLst>
            <a:glow rad="254000">
              <a:schemeClr val="accent1">
                <a:satMod val="175000"/>
                <a:alpha val="40000"/>
              </a:schemeClr>
            </a:glow>
          </a:effectLst>
          <a:extLst/>
        </p:spPr>
        <p:txBody>
          <a:bodyPr wrap="square" lIns="0" tIns="0" rIns="0" bIns="0" anchor="ctr" anchorCtr="0">
            <a:noAutofit/>
          </a:bodyPr>
          <a:lstStyle>
            <a:lvl1pPr marL="1588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>
              <a:lnSpc>
                <a:spcPct val="90000"/>
              </a:lnSpc>
              <a:spcBef>
                <a:spcPts val="0"/>
              </a:spcBef>
            </a:pPr>
            <a:endParaRPr lang="en-US" altLang="de-DE" sz="1800" dirty="0">
              <a:solidFill>
                <a:srgbClr val="000000"/>
              </a:solidFill>
              <a:latin typeface="TeleGrotesk Headline Ultra" pitchFamily="2" charset="0"/>
            </a:endParaRPr>
          </a:p>
        </p:txBody>
      </p:sp>
      <p:pic>
        <p:nvPicPr>
          <p:cNvPr id="29698" name="Picture 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-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7425" y="1281718"/>
            <a:ext cx="1024820" cy="1176401"/>
          </a:xfrm>
          <a:prstGeom prst="rect">
            <a:avLst/>
          </a:prstGeom>
          <a:gradFill>
            <a:gsLst>
              <a:gs pos="56000">
                <a:schemeClr val="accent5">
                  <a:lumMod val="75000"/>
                </a:schemeClr>
              </a:gs>
              <a:gs pos="0">
                <a:schemeClr val="accent3"/>
              </a:gs>
              <a:gs pos="80000">
                <a:schemeClr val="accent4">
                  <a:lumMod val="40000"/>
                  <a:lumOff val="60000"/>
                </a:schemeClr>
              </a:gs>
            </a:gsLst>
            <a:lin ang="10800000" scaled="1"/>
          </a:gradFill>
          <a:ln>
            <a:noFill/>
          </a:ln>
          <a:effectLst>
            <a:softEdge rad="266700"/>
          </a:effectLst>
        </p:spPr>
      </p:pic>
      <p:pic>
        <p:nvPicPr>
          <p:cNvPr id="29700" name="Picture 4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16000" y="511261"/>
            <a:ext cx="313547" cy="29808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Rectangle 22"/>
          <p:cNvSpPr/>
          <p:nvPr/>
        </p:nvSpPr>
        <p:spPr>
          <a:xfrm>
            <a:off x="2458032" y="1209558"/>
            <a:ext cx="114499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hu-HU" sz="1400"/>
              <a:t> </a:t>
            </a:r>
            <a:r>
              <a:rPr lang="hu-HU" sz="2400"/>
              <a:t>1950s</a:t>
            </a:r>
          </a:p>
        </p:txBody>
      </p:sp>
      <p:sp>
        <p:nvSpPr>
          <p:cNvPr id="24" name="Rectangle 23"/>
          <p:cNvSpPr/>
          <p:nvPr/>
        </p:nvSpPr>
        <p:spPr>
          <a:xfrm>
            <a:off x="6946868" y="1032486"/>
            <a:ext cx="134890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hu-HU" sz="1400"/>
              <a:t> </a:t>
            </a:r>
            <a:r>
              <a:rPr lang="hu-HU" sz="2400" smtClean="0"/>
              <a:t>1980s</a:t>
            </a:r>
            <a:endParaRPr lang="hu-HU" sz="2400"/>
          </a:p>
        </p:txBody>
      </p:sp>
      <p:sp>
        <p:nvSpPr>
          <p:cNvPr id="25" name="Rectangle 24"/>
          <p:cNvSpPr/>
          <p:nvPr/>
        </p:nvSpPr>
        <p:spPr>
          <a:xfrm>
            <a:off x="3816000" y="6123017"/>
            <a:ext cx="125159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hu-HU" sz="1400"/>
              <a:t> </a:t>
            </a:r>
            <a:r>
              <a:rPr lang="hu-HU" sz="2400" smtClean="0"/>
              <a:t>1990s</a:t>
            </a:r>
            <a:endParaRPr lang="hu-HU" sz="2400"/>
          </a:p>
        </p:txBody>
      </p:sp>
      <p:pic>
        <p:nvPicPr>
          <p:cNvPr id="29715" name="Picture 19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20117" y="1314066"/>
            <a:ext cx="1719174" cy="1195235"/>
          </a:xfrm>
          <a:prstGeom prst="rect">
            <a:avLst/>
          </a:prstGeom>
          <a:noFill/>
          <a:ln>
            <a:noFill/>
          </a:ln>
          <a:effectLst>
            <a:softEdge rad="381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716" name="Picture 20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252410" y="2001684"/>
            <a:ext cx="1588163" cy="10478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719" name="Picture 23" descr="Machine generated alternative text: 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143888" y="4713053"/>
            <a:ext cx="1317402" cy="5382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720" name="Picture 24" descr="Machine generated alternative text: AXELOS&#10;ctOBAL  2RCTIC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885222" y="5625228"/>
            <a:ext cx="1675770" cy="5015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721" name="Picture 25" descr="Machine generated alternative text: IIIAA —&#10;I I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3156" y="5397455"/>
            <a:ext cx="1169926" cy="4555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722" name="Picture 26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4957" y="4264056"/>
            <a:ext cx="1743075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52261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714" name="Picture 18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>
            <a:off x="5507990" y="3762741"/>
            <a:ext cx="1253331" cy="1253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710" name="Picture 1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47814" y="5274730"/>
            <a:ext cx="801680" cy="11291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3" name="Rectangle 21"/>
          <p:cNvSpPr>
            <a:spLocks noChangeAspect="1" noChangeArrowheads="1"/>
          </p:cNvSpPr>
          <p:nvPr/>
        </p:nvSpPr>
        <p:spPr bwMode="gray">
          <a:xfrm>
            <a:off x="360001" y="1120085"/>
            <a:ext cx="1499669" cy="1499669"/>
          </a:xfrm>
          <a:prstGeom prst="ellipse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  <a:effectLst>
            <a:glow rad="368300">
              <a:schemeClr val="accent4">
                <a:lumMod val="60000"/>
                <a:lumOff val="40000"/>
                <a:alpha val="98000"/>
              </a:schemeClr>
            </a:glow>
          </a:effectLst>
          <a:extLst/>
        </p:spPr>
        <p:txBody>
          <a:bodyPr wrap="square" lIns="0" tIns="0" rIns="0" bIns="0" anchor="ctr" anchorCtr="0">
            <a:noAutofit/>
          </a:bodyPr>
          <a:lstStyle>
            <a:lvl1pPr marL="1588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>
              <a:lnSpc>
                <a:spcPct val="90000"/>
              </a:lnSpc>
              <a:spcBef>
                <a:spcPts val="0"/>
              </a:spcBef>
            </a:pPr>
            <a:endParaRPr lang="en-US" altLang="de-DE" sz="1800" dirty="0">
              <a:solidFill>
                <a:srgbClr val="000000"/>
              </a:solidFill>
              <a:latin typeface="TeleGrotesk Headline Ultra" pitchFamily="2" charset="0"/>
            </a:endParaRPr>
          </a:p>
        </p:txBody>
      </p:sp>
      <p:sp>
        <p:nvSpPr>
          <p:cNvPr id="51" name="Rectangle 21"/>
          <p:cNvSpPr>
            <a:spLocks noChangeAspect="1" noChangeArrowheads="1"/>
          </p:cNvSpPr>
          <p:nvPr/>
        </p:nvSpPr>
        <p:spPr bwMode="gray">
          <a:xfrm>
            <a:off x="454320" y="5107494"/>
            <a:ext cx="1113234" cy="1113234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glow rad="254000">
              <a:schemeClr val="accent1">
                <a:satMod val="175000"/>
                <a:alpha val="40000"/>
              </a:schemeClr>
            </a:glow>
          </a:effectLst>
          <a:extLst/>
        </p:spPr>
        <p:txBody>
          <a:bodyPr wrap="square" lIns="0" tIns="0" rIns="0" bIns="0" anchor="ctr" anchorCtr="0">
            <a:noAutofit/>
          </a:bodyPr>
          <a:lstStyle>
            <a:lvl1pPr marL="1588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>
              <a:lnSpc>
                <a:spcPct val="90000"/>
              </a:lnSpc>
              <a:spcBef>
                <a:spcPts val="0"/>
              </a:spcBef>
            </a:pPr>
            <a:endParaRPr lang="en-US" altLang="de-DE" sz="1800" dirty="0">
              <a:solidFill>
                <a:srgbClr val="000000"/>
              </a:solidFill>
              <a:latin typeface="TeleGrotesk Headline Ultra" pitchFamily="2" charset="0"/>
            </a:endParaRPr>
          </a:p>
        </p:txBody>
      </p:sp>
      <p:sp>
        <p:nvSpPr>
          <p:cNvPr id="50" name="Rectangle 21"/>
          <p:cNvSpPr>
            <a:spLocks noChangeAspect="1" noChangeArrowheads="1"/>
          </p:cNvSpPr>
          <p:nvPr/>
        </p:nvSpPr>
        <p:spPr bwMode="gray">
          <a:xfrm>
            <a:off x="609267" y="3868965"/>
            <a:ext cx="1113234" cy="1113234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glow rad="139700">
              <a:schemeClr val="accent1">
                <a:satMod val="175000"/>
                <a:alpha val="40000"/>
              </a:schemeClr>
            </a:glow>
          </a:effectLst>
          <a:extLst/>
        </p:spPr>
        <p:txBody>
          <a:bodyPr wrap="square" lIns="0" tIns="0" rIns="0" bIns="0" anchor="ctr" anchorCtr="0">
            <a:noAutofit/>
          </a:bodyPr>
          <a:lstStyle>
            <a:lvl1pPr marL="1588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>
              <a:lnSpc>
                <a:spcPct val="90000"/>
              </a:lnSpc>
              <a:spcBef>
                <a:spcPts val="0"/>
              </a:spcBef>
            </a:pPr>
            <a:endParaRPr lang="en-US" altLang="de-DE" sz="1800" dirty="0">
              <a:solidFill>
                <a:srgbClr val="000000"/>
              </a:solidFill>
              <a:latin typeface="TeleGrotesk Headline Ultra" pitchFamily="2" charset="0"/>
            </a:endParaRPr>
          </a:p>
        </p:txBody>
      </p:sp>
      <p:sp>
        <p:nvSpPr>
          <p:cNvPr id="49" name="Rectangle 21"/>
          <p:cNvSpPr>
            <a:spLocks noChangeAspect="1" noChangeArrowheads="1"/>
          </p:cNvSpPr>
          <p:nvPr/>
        </p:nvSpPr>
        <p:spPr bwMode="gray">
          <a:xfrm>
            <a:off x="2595501" y="5366706"/>
            <a:ext cx="1113234" cy="1113234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glow rad="101600">
              <a:schemeClr val="accent1">
                <a:satMod val="175000"/>
                <a:alpha val="40000"/>
              </a:schemeClr>
            </a:glow>
          </a:effectLst>
          <a:extLst/>
        </p:spPr>
        <p:txBody>
          <a:bodyPr wrap="square" lIns="0" tIns="0" rIns="0" bIns="0" anchor="ctr" anchorCtr="0">
            <a:noAutofit/>
          </a:bodyPr>
          <a:lstStyle>
            <a:lvl1pPr marL="1588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>
              <a:lnSpc>
                <a:spcPct val="90000"/>
              </a:lnSpc>
              <a:spcBef>
                <a:spcPts val="0"/>
              </a:spcBef>
            </a:pPr>
            <a:endParaRPr lang="en-US" altLang="de-DE" sz="1800" dirty="0">
              <a:solidFill>
                <a:srgbClr val="000000"/>
              </a:solidFill>
              <a:latin typeface="TeleGrotesk Headline Ultra" pitchFamily="2" charset="0"/>
            </a:endParaRPr>
          </a:p>
        </p:txBody>
      </p:sp>
      <p:pic>
        <p:nvPicPr>
          <p:cNvPr id="29709" name="Picture 1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26988" y="3796615"/>
            <a:ext cx="1016214" cy="11855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713" name="Picture 17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17223" y="4264056"/>
            <a:ext cx="1231961" cy="1152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185B2FC-D18E-4EA2-A103-6DCF88856111}" type="slidenum">
              <a:rPr lang="en-US" noProof="0" smtClean="0"/>
              <a:pPr/>
              <a:t>6</a:t>
            </a:fld>
            <a:endParaRPr lang="en-US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mtClean="0"/>
              <a:t>History of PMO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PTE MIK PM1 2018/19-1        -        PMO Basics</a:t>
            </a:r>
            <a:endParaRPr lang="en-US" noProof="0" dirty="0" smtClean="0"/>
          </a:p>
        </p:txBody>
      </p:sp>
      <p:sp>
        <p:nvSpPr>
          <p:cNvPr id="7" name="Rectangle 6"/>
          <p:cNvSpPr/>
          <p:nvPr/>
        </p:nvSpPr>
        <p:spPr>
          <a:xfrm>
            <a:off x="632958" y="2619754"/>
            <a:ext cx="95375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hu-HU" sz="1400"/>
              <a:t> </a:t>
            </a:r>
            <a:r>
              <a:rPr lang="hu-HU" sz="2400"/>
              <a:t>1910</a:t>
            </a:r>
          </a:p>
        </p:txBody>
      </p:sp>
      <p:sp>
        <p:nvSpPr>
          <p:cNvPr id="10" name="Rectangle 21"/>
          <p:cNvSpPr>
            <a:spLocks noChangeAspect="1" noChangeArrowheads="1"/>
          </p:cNvSpPr>
          <p:nvPr/>
        </p:nvSpPr>
        <p:spPr bwMode="gray">
          <a:xfrm>
            <a:off x="2775745" y="1694201"/>
            <a:ext cx="1315634" cy="1315634"/>
          </a:xfrm>
          <a:prstGeom prst="ellipse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  <a:effectLst>
            <a:glow rad="419100">
              <a:schemeClr val="accent5">
                <a:satMod val="175000"/>
                <a:alpha val="40000"/>
              </a:schemeClr>
            </a:glow>
          </a:effectLst>
          <a:extLst/>
        </p:spPr>
        <p:txBody>
          <a:bodyPr wrap="square" lIns="0" tIns="0" rIns="0" bIns="0" anchor="ctr" anchorCtr="0">
            <a:noAutofit/>
          </a:bodyPr>
          <a:lstStyle>
            <a:lvl1pPr marL="1588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>
              <a:lnSpc>
                <a:spcPct val="90000"/>
              </a:lnSpc>
              <a:spcBef>
                <a:spcPts val="0"/>
              </a:spcBef>
            </a:pPr>
            <a:endParaRPr lang="en-US" altLang="de-DE" sz="1800" dirty="0">
              <a:solidFill>
                <a:srgbClr val="000000"/>
              </a:solidFill>
              <a:latin typeface="TeleGrotesk Headline Ultra" pitchFamily="2" charset="0"/>
            </a:endParaRPr>
          </a:p>
        </p:txBody>
      </p:sp>
      <p:sp>
        <p:nvSpPr>
          <p:cNvPr id="11" name="Rectangle 21"/>
          <p:cNvSpPr>
            <a:spLocks noChangeAspect="1" noChangeArrowheads="1"/>
          </p:cNvSpPr>
          <p:nvPr/>
        </p:nvSpPr>
        <p:spPr bwMode="gray">
          <a:xfrm>
            <a:off x="6689322" y="1851876"/>
            <a:ext cx="1698693" cy="1698693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glow rad="190500">
              <a:schemeClr val="accent2">
                <a:satMod val="175000"/>
                <a:alpha val="40000"/>
              </a:schemeClr>
            </a:glow>
          </a:effectLst>
          <a:extLst/>
        </p:spPr>
        <p:txBody>
          <a:bodyPr wrap="square" lIns="0" tIns="0" rIns="0" bIns="0" anchor="ctr" anchorCtr="0">
            <a:noAutofit/>
          </a:bodyPr>
          <a:lstStyle>
            <a:lvl1pPr marL="1588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>
              <a:lnSpc>
                <a:spcPct val="90000"/>
              </a:lnSpc>
              <a:spcBef>
                <a:spcPts val="0"/>
              </a:spcBef>
            </a:pPr>
            <a:endParaRPr lang="en-US" altLang="de-DE" sz="1800" dirty="0">
              <a:solidFill>
                <a:srgbClr val="000000"/>
              </a:solidFill>
              <a:latin typeface="TeleGrotesk Headline Ultra" pitchFamily="2" charset="0"/>
            </a:endParaRPr>
          </a:p>
        </p:txBody>
      </p:sp>
      <p:sp>
        <p:nvSpPr>
          <p:cNvPr id="12" name="Rectangle 21"/>
          <p:cNvSpPr>
            <a:spLocks noChangeAspect="1" noChangeArrowheads="1"/>
          </p:cNvSpPr>
          <p:nvPr/>
        </p:nvSpPr>
        <p:spPr bwMode="gray">
          <a:xfrm>
            <a:off x="5319241" y="1043714"/>
            <a:ext cx="1699949" cy="1699949"/>
          </a:xfrm>
          <a:prstGeom prst="ellipse">
            <a:avLst/>
          </a:prstGeom>
          <a:solidFill>
            <a:schemeClr val="bg1"/>
          </a:solidFill>
          <a:ln w="15875">
            <a:solidFill>
              <a:schemeClr val="bg2">
                <a:lumMod val="75000"/>
              </a:schemeClr>
            </a:solidFill>
          </a:ln>
          <a:effectLst>
            <a:glow rad="419100">
              <a:schemeClr val="accent3">
                <a:satMod val="175000"/>
                <a:alpha val="40000"/>
              </a:schemeClr>
            </a:glow>
          </a:effectLst>
          <a:extLst/>
        </p:spPr>
        <p:txBody>
          <a:bodyPr wrap="square" lIns="0" tIns="0" rIns="0" bIns="0" anchor="ctr" anchorCtr="0">
            <a:noAutofit/>
          </a:bodyPr>
          <a:lstStyle>
            <a:lvl1pPr marL="1588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>
              <a:lnSpc>
                <a:spcPct val="90000"/>
              </a:lnSpc>
              <a:spcBef>
                <a:spcPts val="0"/>
              </a:spcBef>
            </a:pPr>
            <a:endParaRPr lang="en-US" altLang="de-DE" sz="1800" dirty="0">
              <a:solidFill>
                <a:srgbClr val="000000"/>
              </a:solidFill>
              <a:latin typeface="TeleGrotesk Headline Ultra" pitchFamily="2" charset="0"/>
            </a:endParaRPr>
          </a:p>
        </p:txBody>
      </p:sp>
      <p:sp>
        <p:nvSpPr>
          <p:cNvPr id="14" name="Rectangle 21"/>
          <p:cNvSpPr>
            <a:spLocks noChangeAspect="1" noChangeArrowheads="1"/>
          </p:cNvSpPr>
          <p:nvPr/>
        </p:nvSpPr>
        <p:spPr bwMode="gray">
          <a:xfrm>
            <a:off x="1231900" y="4362741"/>
            <a:ext cx="1823977" cy="1823977"/>
          </a:xfrm>
          <a:prstGeom prst="ellipse">
            <a:avLst/>
          </a:prstGeom>
          <a:solidFill>
            <a:schemeClr val="bg1"/>
          </a:solidFill>
          <a:ln w="15875">
            <a:solidFill>
              <a:schemeClr val="tx1"/>
            </a:solidFill>
          </a:ln>
          <a:effectLst>
            <a:glow rad="254000">
              <a:schemeClr val="accent1">
                <a:satMod val="175000"/>
                <a:alpha val="40000"/>
              </a:schemeClr>
            </a:glow>
          </a:effectLst>
          <a:extLst/>
        </p:spPr>
        <p:txBody>
          <a:bodyPr wrap="square" lIns="0" tIns="0" rIns="0" bIns="0" anchor="ctr" anchorCtr="0">
            <a:noAutofit/>
          </a:bodyPr>
          <a:lstStyle>
            <a:lvl1pPr marL="1588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>
              <a:lnSpc>
                <a:spcPct val="90000"/>
              </a:lnSpc>
              <a:spcBef>
                <a:spcPts val="0"/>
              </a:spcBef>
            </a:pPr>
            <a:endParaRPr lang="en-US" altLang="de-DE" sz="1800" dirty="0">
              <a:solidFill>
                <a:srgbClr val="000000"/>
              </a:solidFill>
              <a:latin typeface="TeleGrotesk Headline Ultra" pitchFamily="2" charset="0"/>
            </a:endParaRPr>
          </a:p>
        </p:txBody>
      </p:sp>
      <p:sp>
        <p:nvSpPr>
          <p:cNvPr id="15" name="Rectangle 21"/>
          <p:cNvSpPr>
            <a:spLocks noChangeAspect="1" noChangeArrowheads="1"/>
          </p:cNvSpPr>
          <p:nvPr/>
        </p:nvSpPr>
        <p:spPr bwMode="gray">
          <a:xfrm>
            <a:off x="4854778" y="3854424"/>
            <a:ext cx="845077" cy="657067"/>
          </a:xfrm>
          <a:prstGeom prst="irregularSeal1">
            <a:avLst/>
          </a:prstGeom>
          <a:ln/>
          <a:extLst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wrap="square" lIns="0" tIns="0" rIns="0" bIns="0" anchor="ctr" anchorCtr="0">
            <a:noAutofit/>
          </a:bodyPr>
          <a:lstStyle>
            <a:lvl1pPr marL="1588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>
              <a:lnSpc>
                <a:spcPct val="90000"/>
              </a:lnSpc>
              <a:spcBef>
                <a:spcPts val="0"/>
              </a:spcBef>
            </a:pPr>
            <a:r>
              <a:rPr lang="hu-HU" altLang="de-DE" sz="1800" smtClean="0">
                <a:solidFill>
                  <a:srgbClr val="000000"/>
                </a:solidFill>
                <a:latin typeface="TeleGrotesk Headline" pitchFamily="2" charset="0"/>
              </a:rPr>
              <a:t>PMO</a:t>
            </a:r>
            <a:endParaRPr lang="en-US" altLang="de-DE" sz="1800" dirty="0">
              <a:solidFill>
                <a:srgbClr val="000000"/>
              </a:solidFill>
              <a:latin typeface="TeleGrotesk Headline" pitchFamily="2" charset="0"/>
            </a:endParaRPr>
          </a:p>
        </p:txBody>
      </p:sp>
      <p:pic>
        <p:nvPicPr>
          <p:cNvPr id="29698" name="Picture 2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-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7425" y="1281718"/>
            <a:ext cx="1024820" cy="1176401"/>
          </a:xfrm>
          <a:prstGeom prst="rect">
            <a:avLst/>
          </a:prstGeom>
          <a:gradFill>
            <a:gsLst>
              <a:gs pos="56000">
                <a:schemeClr val="accent5">
                  <a:lumMod val="75000"/>
                </a:schemeClr>
              </a:gs>
              <a:gs pos="0">
                <a:schemeClr val="accent3"/>
              </a:gs>
              <a:gs pos="80000">
                <a:schemeClr val="accent4">
                  <a:lumMod val="40000"/>
                  <a:lumOff val="60000"/>
                </a:schemeClr>
              </a:gs>
            </a:gsLst>
            <a:lin ang="10800000" scaled="1"/>
          </a:gradFill>
          <a:ln>
            <a:noFill/>
          </a:ln>
          <a:effectLst>
            <a:softEdge rad="266700"/>
          </a:effectLst>
        </p:spPr>
      </p:pic>
      <p:pic>
        <p:nvPicPr>
          <p:cNvPr id="29700" name="Picture 4"/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16000" y="511261"/>
            <a:ext cx="313547" cy="29808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Rectangle 22"/>
          <p:cNvSpPr/>
          <p:nvPr/>
        </p:nvSpPr>
        <p:spPr>
          <a:xfrm>
            <a:off x="2458032" y="1209558"/>
            <a:ext cx="114499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hu-HU" sz="1400"/>
              <a:t> </a:t>
            </a:r>
            <a:r>
              <a:rPr lang="hu-HU" sz="2400"/>
              <a:t>1950s</a:t>
            </a:r>
          </a:p>
        </p:txBody>
      </p:sp>
      <p:sp>
        <p:nvSpPr>
          <p:cNvPr id="24" name="Rectangle 23"/>
          <p:cNvSpPr/>
          <p:nvPr/>
        </p:nvSpPr>
        <p:spPr>
          <a:xfrm>
            <a:off x="6946868" y="1032486"/>
            <a:ext cx="134890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hu-HU" sz="1400"/>
              <a:t> </a:t>
            </a:r>
            <a:r>
              <a:rPr lang="hu-HU" sz="2400" smtClean="0"/>
              <a:t>1980s</a:t>
            </a:r>
            <a:endParaRPr lang="hu-HU" sz="2400"/>
          </a:p>
        </p:txBody>
      </p:sp>
      <p:sp>
        <p:nvSpPr>
          <p:cNvPr id="25" name="Rectangle 24"/>
          <p:cNvSpPr/>
          <p:nvPr/>
        </p:nvSpPr>
        <p:spPr>
          <a:xfrm>
            <a:off x="3816000" y="6123017"/>
            <a:ext cx="125159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hu-HU" sz="1400"/>
              <a:t> </a:t>
            </a:r>
            <a:r>
              <a:rPr lang="hu-HU" sz="2400" smtClean="0"/>
              <a:t>1990s</a:t>
            </a:r>
            <a:endParaRPr lang="hu-HU" sz="2400"/>
          </a:p>
        </p:txBody>
      </p:sp>
      <p:sp>
        <p:nvSpPr>
          <p:cNvPr id="26" name="Rectangle 21"/>
          <p:cNvSpPr>
            <a:spLocks noChangeAspect="1" noChangeArrowheads="1"/>
          </p:cNvSpPr>
          <p:nvPr/>
        </p:nvSpPr>
        <p:spPr bwMode="gray">
          <a:xfrm>
            <a:off x="8421069" y="3796615"/>
            <a:ext cx="657067" cy="657067"/>
          </a:xfrm>
          <a:prstGeom prst="ellipse">
            <a:avLst/>
          </a:prstGeom>
          <a:ln/>
          <a:extLst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 lIns="0" tIns="0" rIns="0" bIns="0" anchor="ctr" anchorCtr="0">
            <a:noAutofit/>
          </a:bodyPr>
          <a:lstStyle>
            <a:lvl1pPr marL="1588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>
              <a:lnSpc>
                <a:spcPct val="90000"/>
              </a:lnSpc>
              <a:spcBef>
                <a:spcPts val="0"/>
              </a:spcBef>
            </a:pPr>
            <a:r>
              <a:rPr lang="hu-HU" altLang="de-DE" sz="1800" smtClean="0">
                <a:solidFill>
                  <a:srgbClr val="000000"/>
                </a:solidFill>
                <a:latin typeface="TeleGrotesk Headline" pitchFamily="2" charset="0"/>
              </a:rPr>
              <a:t>PMO</a:t>
            </a:r>
            <a:endParaRPr lang="en-US" altLang="de-DE" sz="1800" dirty="0">
              <a:solidFill>
                <a:srgbClr val="000000"/>
              </a:solidFill>
              <a:latin typeface="TeleGrotesk Headline" pitchFamily="2" charset="0"/>
            </a:endParaRPr>
          </a:p>
        </p:txBody>
      </p:sp>
      <p:sp>
        <p:nvSpPr>
          <p:cNvPr id="27" name="Rectangle 21"/>
          <p:cNvSpPr>
            <a:spLocks noChangeAspect="1" noChangeArrowheads="1"/>
          </p:cNvSpPr>
          <p:nvPr/>
        </p:nvSpPr>
        <p:spPr bwMode="gray">
          <a:xfrm>
            <a:off x="8970649" y="5044880"/>
            <a:ext cx="695918" cy="643652"/>
          </a:xfrm>
          <a:prstGeom prst="pentagon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tx2"/>
            </a:solidFill>
          </a:ln>
          <a:extLst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lIns="0" tIns="0" rIns="0" bIns="0" anchor="ctr" anchorCtr="0">
            <a:noAutofit/>
          </a:bodyPr>
          <a:lstStyle>
            <a:lvl1pPr marL="1588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>
              <a:lnSpc>
                <a:spcPct val="90000"/>
              </a:lnSpc>
              <a:spcBef>
                <a:spcPts val="0"/>
              </a:spcBef>
            </a:pPr>
            <a:r>
              <a:rPr lang="hu-HU" altLang="de-DE" sz="1800" smtClean="0">
                <a:solidFill>
                  <a:srgbClr val="000000"/>
                </a:solidFill>
                <a:latin typeface="TeleGrotesk Headline" pitchFamily="2" charset="0"/>
              </a:rPr>
              <a:t>PMO</a:t>
            </a:r>
            <a:endParaRPr lang="en-US" altLang="de-DE" sz="1800" dirty="0">
              <a:solidFill>
                <a:srgbClr val="000000"/>
              </a:solidFill>
              <a:latin typeface="TeleGrotesk Headline" pitchFamily="2" charset="0"/>
            </a:endParaRPr>
          </a:p>
        </p:txBody>
      </p:sp>
      <p:sp>
        <p:nvSpPr>
          <p:cNvPr id="28" name="Rectangle 21"/>
          <p:cNvSpPr>
            <a:spLocks noChangeAspect="1" noChangeArrowheads="1"/>
          </p:cNvSpPr>
          <p:nvPr/>
        </p:nvSpPr>
        <p:spPr bwMode="gray">
          <a:xfrm>
            <a:off x="7063900" y="6026563"/>
            <a:ext cx="985601" cy="657067"/>
          </a:xfrm>
          <a:prstGeom prst="cloud">
            <a:avLst/>
          </a:prstGeom>
          <a:ln/>
          <a:extLst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wrap="square" lIns="0" tIns="0" rIns="0" bIns="0" anchor="ctr" anchorCtr="0">
            <a:noAutofit/>
          </a:bodyPr>
          <a:lstStyle>
            <a:lvl1pPr marL="1588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>
              <a:lnSpc>
                <a:spcPct val="90000"/>
              </a:lnSpc>
              <a:spcBef>
                <a:spcPts val="0"/>
              </a:spcBef>
            </a:pPr>
            <a:r>
              <a:rPr lang="hu-HU" altLang="de-DE" sz="1800" smtClean="0">
                <a:solidFill>
                  <a:srgbClr val="000000"/>
                </a:solidFill>
                <a:latin typeface="TeleGrotesk Headline" pitchFamily="2" charset="0"/>
              </a:rPr>
              <a:t>PMO</a:t>
            </a:r>
            <a:endParaRPr lang="en-US" altLang="de-DE" sz="1800" dirty="0">
              <a:solidFill>
                <a:srgbClr val="000000"/>
              </a:solidFill>
              <a:latin typeface="TeleGrotesk Headline" pitchFamily="2" charset="0"/>
            </a:endParaRPr>
          </a:p>
        </p:txBody>
      </p:sp>
      <p:pic>
        <p:nvPicPr>
          <p:cNvPr id="29712" name="Picture 16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35095" y="4982199"/>
            <a:ext cx="835554" cy="11065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711" name="Picture 15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>
            <a:off x="5557424" y="5016072"/>
            <a:ext cx="790390" cy="9710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715" name="Picture 19"/>
          <p:cNvPicPr>
            <a:picLocks noChangeAspect="1"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20117" y="1314066"/>
            <a:ext cx="1719174" cy="1195235"/>
          </a:xfrm>
          <a:prstGeom prst="rect">
            <a:avLst/>
          </a:prstGeom>
          <a:noFill/>
          <a:ln>
            <a:noFill/>
          </a:ln>
          <a:effectLst>
            <a:softEdge rad="381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716" name="Picture 20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252410" y="2001684"/>
            <a:ext cx="1588163" cy="10478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719" name="Picture 23" descr="Machine generated alternative text: 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143888" y="4713053"/>
            <a:ext cx="1317402" cy="5382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720" name="Picture 24" descr="Machine generated alternative text: AXELOS&#10;ctOBAL  2RCTIC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885222" y="5625228"/>
            <a:ext cx="1675770" cy="5015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721" name="Picture 25" descr="Machine generated alternative text: IIIAA —&#10;I I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3156" y="5397455"/>
            <a:ext cx="1169926" cy="4555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722" name="Picture 26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4957" y="4264056"/>
            <a:ext cx="1743075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9769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mtClean="0"/>
              <a:t>Definition of </a:t>
            </a:r>
            <a:r>
              <a:rPr lang="en-US" smtClean="0"/>
              <a:t>pmo</a:t>
            </a:r>
            <a:endParaRPr lang="en-US" sz="2400">
              <a:latin typeface="TeleGrotesk Headline" pitchFamily="2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3018824" y="1371460"/>
            <a:ext cx="6377175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q"/>
            </a:pPr>
            <a:r>
              <a:rPr lang="hu-HU" sz="2400"/>
              <a:t>A</a:t>
            </a:r>
            <a:r>
              <a:rPr lang="hu-HU" sz="2400" smtClean="0"/>
              <a:t> </a:t>
            </a:r>
            <a:r>
              <a:rPr lang="hu-HU" sz="2400"/>
              <a:t>group or department </a:t>
            </a:r>
            <a:r>
              <a:rPr lang="hu-HU" sz="2400" smtClean="0"/>
              <a:t>that </a:t>
            </a:r>
            <a:r>
              <a:rPr lang="hu-HU" sz="2400">
                <a:solidFill>
                  <a:schemeClr val="tx2"/>
                </a:solidFill>
              </a:rPr>
              <a:t>defines</a:t>
            </a:r>
            <a:r>
              <a:rPr lang="hu-HU" sz="2400"/>
              <a:t> and </a:t>
            </a:r>
            <a:r>
              <a:rPr lang="hu-HU" sz="2400">
                <a:solidFill>
                  <a:schemeClr val="tx2"/>
                </a:solidFill>
              </a:rPr>
              <a:t>maintains</a:t>
            </a:r>
            <a:r>
              <a:rPr lang="hu-HU" sz="2400"/>
              <a:t> project management </a:t>
            </a:r>
            <a:r>
              <a:rPr lang="hu-HU" sz="2400">
                <a:solidFill>
                  <a:schemeClr val="tx2"/>
                </a:solidFill>
              </a:rPr>
              <a:t>standards</a:t>
            </a:r>
            <a:r>
              <a:rPr lang="hu-HU" sz="2400"/>
              <a:t> across an organization</a:t>
            </a:r>
            <a:r>
              <a:rPr lang="hu-HU" sz="2400" smtClean="0"/>
              <a:t>.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PTE MIK PM1 2018/19-1        -        PMO Basics</a:t>
            </a:r>
            <a:endParaRPr lang="en-US" noProof="0" dirty="0" smtClean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185B2FC-D18E-4EA2-A103-6DCF88856111}" type="slidenum">
              <a:rPr lang="en-US" noProof="0" smtClean="0"/>
              <a:pPr/>
              <a:t>7</a:t>
            </a:fld>
            <a:endParaRPr lang="en-US" noProof="0" dirty="0"/>
          </a:p>
        </p:txBody>
      </p:sp>
      <p:pic>
        <p:nvPicPr>
          <p:cNvPr id="23554" name="Picture 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0001" y="1200534"/>
            <a:ext cx="2417923" cy="2409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555" name="Picture 3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518031" y="2845192"/>
            <a:ext cx="2129028" cy="14303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8"/>
          <p:cNvSpPr/>
          <p:nvPr/>
        </p:nvSpPr>
        <p:spPr>
          <a:xfrm>
            <a:off x="330832" y="3841407"/>
            <a:ext cx="6187199" cy="27392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q"/>
            </a:pPr>
            <a:r>
              <a:rPr lang="hu-HU" sz="2200" smtClean="0"/>
              <a:t>The </a:t>
            </a:r>
            <a:r>
              <a:rPr lang="hu-HU" sz="2200"/>
              <a:t>keeper of </a:t>
            </a:r>
            <a:r>
              <a:rPr lang="hu-HU" sz="2200">
                <a:solidFill>
                  <a:schemeClr val="tx2"/>
                </a:solidFill>
              </a:rPr>
              <a:t>documentation, guidance</a:t>
            </a:r>
            <a:r>
              <a:rPr lang="hu-HU" sz="2200"/>
              <a:t>, and </a:t>
            </a:r>
            <a:r>
              <a:rPr lang="hu-HU" sz="2200">
                <a:solidFill>
                  <a:schemeClr val="tx2"/>
                </a:solidFill>
              </a:rPr>
              <a:t>metrics</a:t>
            </a:r>
            <a:r>
              <a:rPr lang="hu-HU" sz="2200"/>
              <a:t> for project execution, ensuring projects are completed on time and </a:t>
            </a:r>
            <a:r>
              <a:rPr lang="hu-HU" sz="2200" smtClean="0"/>
              <a:t>within </a:t>
            </a:r>
            <a:r>
              <a:rPr lang="hu-HU" sz="2200"/>
              <a:t>budget.</a:t>
            </a:r>
          </a:p>
          <a:p>
            <a:endParaRPr lang="hu-HU" sz="2000" smtClean="0"/>
          </a:p>
          <a:p>
            <a:pPr marL="342900" indent="-342900">
              <a:buFont typeface="Wingdings" panose="05000000000000000000" pitchFamily="2" charset="2"/>
              <a:buChar char="q"/>
            </a:pPr>
            <a:endParaRPr lang="hu-HU" sz="2000" smtClean="0"/>
          </a:p>
          <a:p>
            <a:pPr marL="342900" indent="-342900">
              <a:buFont typeface="Wingdings" panose="05000000000000000000" pitchFamily="2" charset="2"/>
              <a:buChar char="q"/>
            </a:pPr>
            <a:r>
              <a:rPr lang="hu-HU" sz="2000"/>
              <a:t>C</a:t>
            </a:r>
            <a:r>
              <a:rPr lang="hu-HU" sz="2000" smtClean="0"/>
              <a:t>an also have certain privileges over projects that the PM is not entitled to (e.g. making business/strategic decisions to put on hold or stop a project completely)</a:t>
            </a:r>
            <a:endParaRPr lang="hu-HU" sz="2000"/>
          </a:p>
        </p:txBody>
      </p:sp>
      <p:pic>
        <p:nvPicPr>
          <p:cNvPr id="23556" name="Picture 4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66176" y="4775739"/>
            <a:ext cx="1519345" cy="1939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576803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60001" y="221358"/>
            <a:ext cx="9359999" cy="588082"/>
          </a:xfrm>
        </p:spPr>
        <p:txBody>
          <a:bodyPr/>
          <a:lstStyle/>
          <a:p>
            <a:r>
              <a:rPr lang="hu-HU" smtClean="0"/>
              <a:t>Who needs a </a:t>
            </a:r>
            <a:r>
              <a:rPr lang="en-US" smtClean="0"/>
              <a:t>pmo</a:t>
            </a:r>
            <a:r>
              <a:rPr lang="hu-HU" smtClean="0"/>
              <a:t>?</a:t>
            </a:r>
            <a:r>
              <a:rPr lang="en-US"/>
              <a:t/>
            </a:r>
            <a:br>
              <a:rPr lang="en-US"/>
            </a:br>
            <a:endParaRPr lang="en-US" sz="2400"/>
          </a:p>
        </p:txBody>
      </p:sp>
      <p:sp>
        <p:nvSpPr>
          <p:cNvPr id="2" name="Rectangle 1"/>
          <p:cNvSpPr/>
          <p:nvPr/>
        </p:nvSpPr>
        <p:spPr>
          <a:xfrm>
            <a:off x="360002" y="2231565"/>
            <a:ext cx="5565797" cy="8002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hu-HU" smtClean="0"/>
              <a:t>Projects </a:t>
            </a:r>
            <a:r>
              <a:rPr lang="hu-HU"/>
              <a:t>are not properly aligned with business </a:t>
            </a:r>
            <a:r>
              <a:rPr lang="hu-HU"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goals</a:t>
            </a:r>
            <a:r>
              <a:rPr lang="hu-HU" smtClean="0"/>
              <a:t>/do </a:t>
            </a:r>
            <a:r>
              <a:rPr lang="hu-HU"/>
              <a:t>not deliver </a:t>
            </a:r>
            <a:r>
              <a:rPr lang="hu-HU"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business </a:t>
            </a:r>
            <a:r>
              <a:rPr lang="hu-HU" smtClean="0"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value</a:t>
            </a:r>
            <a:endParaRPr lang="hu-HU" smtClean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PTE MIK PM1 2018/19-1        -        PMO Basics</a:t>
            </a:r>
            <a:endParaRPr lang="en-US" noProof="0" dirty="0" smtClean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185B2FC-D18E-4EA2-A103-6DCF88856111}" type="slidenum">
              <a:rPr lang="en-US" noProof="0" smtClean="0"/>
              <a:pPr/>
              <a:t>8</a:t>
            </a:fld>
            <a:endParaRPr lang="en-US" noProof="0" dirty="0"/>
          </a:p>
        </p:txBody>
      </p:sp>
      <p:sp>
        <p:nvSpPr>
          <p:cNvPr id="7" name="Rectangle 6"/>
          <p:cNvSpPr/>
          <p:nvPr/>
        </p:nvSpPr>
        <p:spPr>
          <a:xfrm>
            <a:off x="360002" y="712544"/>
            <a:ext cx="2992798" cy="4462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hu-HU" smtClean="0"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You may need a PMO if:</a:t>
            </a:r>
            <a:endParaRPr lang="hu-HU">
              <a:latin typeface="Tele-GroteskFet" pitchFamily="2" charset="0"/>
              <a:ea typeface="Tele-GroteskFet" pitchFamily="2" charset="0"/>
              <a:cs typeface="Tele-GroteskFet" pitchFamily="2" charset="0"/>
            </a:endParaRPr>
          </a:p>
        </p:txBody>
      </p:sp>
      <p:pic>
        <p:nvPicPr>
          <p:cNvPr id="2457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61536" y="2022134"/>
            <a:ext cx="1038225" cy="1009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/>
          <p:cNvSpPr/>
          <p:nvPr/>
        </p:nvSpPr>
        <p:spPr>
          <a:xfrm>
            <a:off x="4067909" y="1435449"/>
            <a:ext cx="5565797" cy="4462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hu-HU" smtClean="0"/>
              <a:t>Projects finish </a:t>
            </a:r>
            <a:r>
              <a:rPr lang="hu-HU"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later than planned </a:t>
            </a:r>
            <a:r>
              <a:rPr lang="hu-HU"/>
              <a:t>or </a:t>
            </a:r>
            <a:r>
              <a:rPr lang="hu-HU"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over </a:t>
            </a:r>
            <a:r>
              <a:rPr lang="hu-HU" smtClean="0"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budget</a:t>
            </a:r>
          </a:p>
        </p:txBody>
      </p:sp>
      <p:sp>
        <p:nvSpPr>
          <p:cNvPr id="11" name="Rectangle 10"/>
          <p:cNvSpPr/>
          <p:nvPr/>
        </p:nvSpPr>
        <p:spPr>
          <a:xfrm>
            <a:off x="4067909" y="3152771"/>
            <a:ext cx="4761151" cy="8002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hu-HU" smtClean="0"/>
              <a:t>Stakeholders </a:t>
            </a:r>
            <a:r>
              <a:rPr lang="hu-HU"/>
              <a:t>do not have </a:t>
            </a:r>
            <a:r>
              <a:rPr lang="hu-HU"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visibility</a:t>
            </a:r>
            <a:r>
              <a:rPr lang="hu-HU"/>
              <a:t> into project progress</a:t>
            </a:r>
          </a:p>
        </p:txBody>
      </p:sp>
      <p:sp>
        <p:nvSpPr>
          <p:cNvPr id="6" name="Rectangle 5"/>
          <p:cNvSpPr/>
          <p:nvPr/>
        </p:nvSpPr>
        <p:spPr>
          <a:xfrm>
            <a:off x="360001" y="4104419"/>
            <a:ext cx="5038725" cy="800219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ctr"/>
            <a:r>
              <a:rPr lang="hu-HU" smtClean="0"/>
              <a:t>No </a:t>
            </a:r>
            <a:r>
              <a:rPr lang="hu-HU"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standardized process </a:t>
            </a:r>
            <a:r>
              <a:rPr lang="hu-HU"/>
              <a:t>for initiating and executing projects</a:t>
            </a:r>
          </a:p>
        </p:txBody>
      </p:sp>
      <p:sp>
        <p:nvSpPr>
          <p:cNvPr id="8" name="Rectangle 7"/>
          <p:cNvSpPr/>
          <p:nvPr/>
        </p:nvSpPr>
        <p:spPr>
          <a:xfrm>
            <a:off x="4067907" y="4869469"/>
            <a:ext cx="5038725" cy="446276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ctr"/>
            <a:r>
              <a:rPr lang="hu-HU" smtClean="0"/>
              <a:t>Project success cannot be </a:t>
            </a:r>
            <a:r>
              <a:rPr lang="hu-HU"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tracked</a:t>
            </a:r>
            <a:r>
              <a:rPr lang="hu-HU" smtClean="0"/>
              <a:t> accurately</a:t>
            </a:r>
            <a:endParaRPr lang="hu-HU"/>
          </a:p>
        </p:txBody>
      </p:sp>
      <p:sp>
        <p:nvSpPr>
          <p:cNvPr id="14" name="Rectangle 13"/>
          <p:cNvSpPr/>
          <p:nvPr/>
        </p:nvSpPr>
        <p:spPr>
          <a:xfrm>
            <a:off x="360000" y="5782411"/>
            <a:ext cx="6020649" cy="8002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hu-HU"/>
              <a:t>S</a:t>
            </a:r>
            <a:r>
              <a:rPr lang="en-US"/>
              <a:t>kills and resources across projects and programmes </a:t>
            </a:r>
            <a:r>
              <a:rPr lang="hu-HU"/>
              <a:t>are not </a:t>
            </a:r>
            <a:r>
              <a:rPr lang="hu-HU"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efficiently used</a:t>
            </a:r>
          </a:p>
        </p:txBody>
      </p:sp>
      <p:pic>
        <p:nvPicPr>
          <p:cNvPr id="24580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39053" y="3166997"/>
            <a:ext cx="1095375" cy="828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581" name="Picture 5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04399" y="3944019"/>
            <a:ext cx="952500" cy="933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582" name="Picture 6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15241" y="4710874"/>
            <a:ext cx="1143000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583" name="Picture 7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79623" y="5397457"/>
            <a:ext cx="1481625" cy="13008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584" name="Picture 8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20028" y="1187466"/>
            <a:ext cx="733425" cy="895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929308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 bwMode="gray">
          <a:xfrm>
            <a:off x="338528" y="4998608"/>
            <a:ext cx="8017072" cy="1631216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no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en-US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1" name="Rectangle 10"/>
          <p:cNvSpPr/>
          <p:nvPr/>
        </p:nvSpPr>
        <p:spPr bwMode="gray">
          <a:xfrm>
            <a:off x="338528" y="3085568"/>
            <a:ext cx="8017072" cy="1717785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no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en-US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0" name="Rectangle 9"/>
          <p:cNvSpPr/>
          <p:nvPr/>
        </p:nvSpPr>
        <p:spPr bwMode="gray">
          <a:xfrm>
            <a:off x="338527" y="1475499"/>
            <a:ext cx="8017072" cy="1410539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no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en-US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185B2FC-D18E-4EA2-A103-6DCF88856111}" type="slidenum">
              <a:rPr lang="en-US" noProof="0" smtClean="0"/>
              <a:pPr/>
              <a:t>9</a:t>
            </a:fld>
            <a:endParaRPr lang="en-US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mtClean="0"/>
              <a:t>levels of Pmo</a:t>
            </a:r>
            <a:endParaRPr lang="en-US"/>
          </a:p>
        </p:txBody>
      </p:sp>
      <p:sp>
        <p:nvSpPr>
          <p:cNvPr id="4" name="Rectangle 3"/>
          <p:cNvSpPr/>
          <p:nvPr/>
        </p:nvSpPr>
        <p:spPr>
          <a:xfrm>
            <a:off x="338529" y="4960136"/>
            <a:ext cx="8017072" cy="161582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hu-HU" sz="2000" smtClean="0"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Directive PMO</a:t>
            </a:r>
          </a:p>
          <a:p>
            <a:endParaRPr lang="hu-HU" sz="1400" smtClean="0">
              <a:latin typeface="Tele-GroteskFet" pitchFamily="2" charset="0"/>
              <a:ea typeface="Tele-GroteskFet" pitchFamily="2" charset="0"/>
              <a:cs typeface="Tele-GroteskFet" pitchFamily="2" charset="0"/>
            </a:endParaRPr>
          </a:p>
          <a:p>
            <a:pPr marL="342900" indent="-342900"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hu-HU" sz="2000" smtClean="0"/>
              <a:t>Takes </a:t>
            </a:r>
            <a:r>
              <a:rPr lang="hu-HU" sz="2000"/>
              <a:t>over </a:t>
            </a:r>
            <a:r>
              <a:rPr lang="hu-HU" sz="2000" smtClean="0"/>
              <a:t>the management of the </a:t>
            </a:r>
            <a:r>
              <a:rPr lang="hu-HU" sz="2000"/>
              <a:t>project </a:t>
            </a:r>
            <a:r>
              <a:rPr lang="hu-HU" sz="2000" smtClean="0"/>
              <a:t>by providing experience </a:t>
            </a:r>
            <a:r>
              <a:rPr lang="hu-HU" sz="2000"/>
              <a:t>and </a:t>
            </a:r>
            <a:r>
              <a:rPr lang="hu-HU" sz="2000" smtClean="0"/>
              <a:t>resources.</a:t>
            </a:r>
            <a:br>
              <a:rPr lang="hu-HU" sz="2000" smtClean="0"/>
            </a:br>
            <a:r>
              <a:rPr lang="hu-HU" sz="2000" smtClean="0"/>
              <a:t>This </a:t>
            </a:r>
            <a:r>
              <a:rPr lang="hu-HU" sz="2000"/>
              <a:t>requires </a:t>
            </a:r>
            <a:r>
              <a:rPr lang="hu-HU" sz="2000">
                <a:solidFill>
                  <a:schemeClr val="tx2"/>
                </a:solidFill>
              </a:rPr>
              <a:t>high maturity PMOs</a:t>
            </a:r>
            <a:r>
              <a:rPr lang="hu-HU" sz="2000"/>
              <a:t>, usually professional project </a:t>
            </a:r>
            <a:r>
              <a:rPr lang="hu-HU" sz="2000" smtClean="0"/>
              <a:t>managers.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hu-HU" sz="2000" smtClean="0"/>
              <a:t>Has </a:t>
            </a:r>
            <a:r>
              <a:rPr lang="hu-HU" sz="2000"/>
              <a:t>a high degree of control in projects</a:t>
            </a:r>
            <a:r>
              <a:rPr lang="hu-HU" sz="2000" smtClean="0"/>
              <a:t>.</a:t>
            </a:r>
            <a:endParaRPr lang="hu-HU" sz="200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PTE MIK PM1 2018/19-1        -        PMO Basics</a:t>
            </a:r>
            <a:endParaRPr lang="en-US" noProof="0" dirty="0" smtClean="0"/>
          </a:p>
        </p:txBody>
      </p:sp>
      <p:sp>
        <p:nvSpPr>
          <p:cNvPr id="6" name="Rectangle 5"/>
          <p:cNvSpPr/>
          <p:nvPr/>
        </p:nvSpPr>
        <p:spPr>
          <a:xfrm>
            <a:off x="338529" y="1415373"/>
            <a:ext cx="8017071" cy="130805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hu-HU" sz="2000" smtClean="0"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Supportive PMO</a:t>
            </a:r>
          </a:p>
          <a:p>
            <a:endParaRPr lang="hu-HU" sz="1400" smtClean="0">
              <a:latin typeface="Tele-GroteskFet" pitchFamily="2" charset="0"/>
              <a:ea typeface="Tele-GroteskFet" pitchFamily="2" charset="0"/>
              <a:cs typeface="Tele-GroteskFet" pitchFamily="2" charset="0"/>
            </a:endParaRPr>
          </a:p>
          <a:p>
            <a:pPr marL="342900" indent="-342900"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hu-HU" sz="2000" smtClean="0"/>
              <a:t>Supplies guidelines, templates, best practice, training, some status reporting.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hu-HU" sz="2000" smtClean="0"/>
              <a:t>Has no or very little influence and control over projects.</a:t>
            </a:r>
          </a:p>
        </p:txBody>
      </p:sp>
      <p:sp>
        <p:nvSpPr>
          <p:cNvPr id="8" name="Rectangle 7"/>
          <p:cNvSpPr/>
          <p:nvPr/>
        </p:nvSpPr>
        <p:spPr>
          <a:xfrm>
            <a:off x="338529" y="3047096"/>
            <a:ext cx="8017071" cy="161582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hu-HU" sz="2000"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Controlling </a:t>
            </a:r>
            <a:r>
              <a:rPr lang="hu-HU" sz="2000" smtClean="0"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PMO</a:t>
            </a:r>
          </a:p>
          <a:p>
            <a:endParaRPr lang="hu-HU" sz="1400" smtClean="0">
              <a:latin typeface="Tele-GroteskFet" pitchFamily="2" charset="0"/>
              <a:ea typeface="Tele-GroteskFet" pitchFamily="2" charset="0"/>
              <a:cs typeface="Tele-GroteskFet" pitchFamily="2" charset="0"/>
            </a:endParaRPr>
          </a:p>
          <a:p>
            <a:pPr marL="342900" indent="-342900"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hu-HU" sz="2000" smtClean="0"/>
              <a:t>Requires </a:t>
            </a:r>
            <a:r>
              <a:rPr lang="hu-HU" sz="2000"/>
              <a:t>compliance to organizational tools, processes, and standards </a:t>
            </a:r>
            <a:r>
              <a:rPr lang="hu-HU" sz="2000" smtClean="0"/>
              <a:t>applied.</a:t>
            </a:r>
            <a:br>
              <a:rPr lang="hu-HU" sz="2000" smtClean="0"/>
            </a:br>
            <a:r>
              <a:rPr lang="hu-HU" sz="2000" smtClean="0"/>
              <a:t>In </a:t>
            </a:r>
            <a:r>
              <a:rPr lang="hu-HU" sz="2000"/>
              <a:t>case of non-compliance, </a:t>
            </a:r>
            <a:r>
              <a:rPr lang="hu-HU" sz="2000" smtClean="0"/>
              <a:t>initiates </a:t>
            </a:r>
            <a:r>
              <a:rPr lang="hu-HU" sz="2000"/>
              <a:t>and </a:t>
            </a:r>
            <a:r>
              <a:rPr lang="hu-HU" sz="2000" smtClean="0"/>
              <a:t>enforces </a:t>
            </a:r>
            <a:r>
              <a:rPr lang="hu-HU" sz="2000"/>
              <a:t>corrective </a:t>
            </a:r>
            <a:r>
              <a:rPr lang="hu-HU" sz="2000" smtClean="0"/>
              <a:t>actions.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hu-HU" sz="2000" smtClean="0"/>
              <a:t>Has </a:t>
            </a:r>
            <a:r>
              <a:rPr lang="hu-HU" sz="2000"/>
              <a:t>a moderate degree of control in projects</a:t>
            </a:r>
            <a:r>
              <a:rPr lang="hu-HU" sz="2000" smtClean="0"/>
              <a:t>.</a:t>
            </a:r>
            <a:endParaRPr lang="hu-HU" sz="2000"/>
          </a:p>
        </p:txBody>
      </p:sp>
      <p:sp>
        <p:nvSpPr>
          <p:cNvPr id="9" name="Rectangle 8"/>
          <p:cNvSpPr/>
          <p:nvPr/>
        </p:nvSpPr>
        <p:spPr>
          <a:xfrm>
            <a:off x="338527" y="892194"/>
            <a:ext cx="935999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800">
                <a:solidFill>
                  <a:schemeClr val="tx2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PMOs operate according to the organization</a:t>
            </a:r>
            <a:r>
              <a:rPr lang="hu-HU" sz="1800">
                <a:solidFill>
                  <a:schemeClr val="tx2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’</a:t>
            </a:r>
            <a:r>
              <a:rPr lang="en-US" sz="1800">
                <a:solidFill>
                  <a:schemeClr val="tx2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s needs and goals, so each PMO is structured </a:t>
            </a:r>
            <a:r>
              <a:rPr lang="en-US" sz="1800" smtClean="0">
                <a:solidFill>
                  <a:schemeClr val="tx2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differently</a:t>
            </a:r>
            <a:endParaRPr lang="hu-HU" sz="1800" smtClean="0">
              <a:latin typeface="Tele-GroteskFet" pitchFamily="2" charset="0"/>
              <a:ea typeface="Tele-GroteskFet" pitchFamily="2" charset="0"/>
              <a:cs typeface="Tele-GroteskFet" pitchFamily="2" charset="0"/>
            </a:endParaRPr>
          </a:p>
        </p:txBody>
      </p:sp>
      <p:sp>
        <p:nvSpPr>
          <p:cNvPr id="13" name="Rectangle 12"/>
          <p:cNvSpPr/>
          <p:nvPr/>
        </p:nvSpPr>
        <p:spPr bwMode="gray">
          <a:xfrm>
            <a:off x="8355601" y="1475499"/>
            <a:ext cx="898568" cy="1410539"/>
          </a:xfrm>
          <a:prstGeom prst="rect">
            <a:avLst/>
          </a:prstGeom>
          <a:solidFill>
            <a:schemeClr val="tx2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vert="vert270" wrap="square" lIns="108000" tIns="108000" rIns="108000" bIns="108000" rtlCol="0" anchor="ctr" anchorCtr="0">
            <a:no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hu-HU" sz="1800" smtClean="0">
                <a:solidFill>
                  <a:schemeClr val="bg1"/>
                </a:solidFill>
                <a:latin typeface="TeleGrotesk Headline Ultra" pitchFamily="2" charset="0"/>
                <a:cs typeface="Arial Unicode MS" panose="020B0604020202020204" pitchFamily="34" charset="-128"/>
              </a:rPr>
              <a:t>Weak matrix</a:t>
            </a:r>
            <a:endParaRPr lang="en-US" sz="1800" dirty="0" smtClean="0">
              <a:solidFill>
                <a:schemeClr val="bg1"/>
              </a:solidFill>
              <a:latin typeface="TeleGrotesk Headline Ultra" pitchFamily="2" charset="0"/>
              <a:cs typeface="Arial Unicode MS" panose="020B0604020202020204" pitchFamily="34" charset="-128"/>
            </a:endParaRPr>
          </a:p>
        </p:txBody>
      </p:sp>
      <p:sp>
        <p:nvSpPr>
          <p:cNvPr id="14" name="Rectangle 13"/>
          <p:cNvSpPr/>
          <p:nvPr/>
        </p:nvSpPr>
        <p:spPr bwMode="gray">
          <a:xfrm>
            <a:off x="8355599" y="3085568"/>
            <a:ext cx="898568" cy="1717785"/>
          </a:xfrm>
          <a:prstGeom prst="rect">
            <a:avLst/>
          </a:prstGeom>
          <a:solidFill>
            <a:schemeClr val="tx2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vert="vert270" wrap="square" lIns="108000" tIns="108000" rIns="108000" bIns="108000" rtlCol="0" anchor="ctr" anchorCtr="0">
            <a:no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hu-HU" sz="1800" smtClean="0">
                <a:solidFill>
                  <a:schemeClr val="bg1"/>
                </a:solidFill>
                <a:latin typeface="TeleGrotesk Headline Ultra" pitchFamily="2" charset="0"/>
                <a:cs typeface="Arial Unicode MS" panose="020B0604020202020204" pitchFamily="34" charset="-128"/>
              </a:rPr>
              <a:t>Balanced matrix</a:t>
            </a:r>
            <a:endParaRPr lang="en-US" sz="1800" dirty="0" smtClean="0">
              <a:solidFill>
                <a:schemeClr val="bg1"/>
              </a:solidFill>
              <a:latin typeface="TeleGrotesk Headline Ultra" pitchFamily="2" charset="0"/>
              <a:cs typeface="Arial Unicode MS" panose="020B0604020202020204" pitchFamily="34" charset="-128"/>
            </a:endParaRPr>
          </a:p>
        </p:txBody>
      </p:sp>
      <p:sp>
        <p:nvSpPr>
          <p:cNvPr id="15" name="Rectangle 14"/>
          <p:cNvSpPr/>
          <p:nvPr/>
        </p:nvSpPr>
        <p:spPr bwMode="gray">
          <a:xfrm>
            <a:off x="8356173" y="4998608"/>
            <a:ext cx="898568" cy="1631216"/>
          </a:xfrm>
          <a:prstGeom prst="rect">
            <a:avLst/>
          </a:prstGeom>
          <a:solidFill>
            <a:schemeClr val="tx2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vert="vert270" wrap="square" lIns="108000" tIns="108000" rIns="108000" bIns="108000" rtlCol="0" anchor="ctr" anchorCtr="0">
            <a:no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hu-HU" sz="1800" smtClean="0">
                <a:solidFill>
                  <a:schemeClr val="bg1"/>
                </a:solidFill>
                <a:latin typeface="TeleGrotesk Headline Ultra" pitchFamily="2" charset="0"/>
                <a:cs typeface="Arial Unicode MS" panose="020B0604020202020204" pitchFamily="34" charset="-128"/>
              </a:rPr>
              <a:t>Strong matrix</a:t>
            </a:r>
            <a:endParaRPr lang="en-US" sz="1800" dirty="0" smtClean="0">
              <a:solidFill>
                <a:schemeClr val="bg1"/>
              </a:solidFill>
              <a:latin typeface="TeleGrotesk Headline Ultra" pitchFamily="2" charset="0"/>
              <a:cs typeface="Arial Unicode MS" panose="020B060402020202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555903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27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.%m.%Y&lt;/m_strFormatTime&gt;&lt;/m_precDefaultDate&gt;&lt;m_precDefaultYear/&gt;&lt;m_precDefaultQuarter/&gt;&lt;m_precDefaultMonth/&gt;&lt;m_precDefaultWeek/&gt;&lt;m_precDefaultDay/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k.JfWbgkqBZAtIq43uE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7qWvEB4Tka0J13yOaczV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Mxcyk3UC597fJ_rjkr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-Systems_MASTER_4-3_EN_20161212">
  <a:themeElements>
    <a:clrScheme name="Telekom Screenfarben">
      <a:dk1>
        <a:srgbClr val="4B4B4B"/>
      </a:dk1>
      <a:lt1>
        <a:srgbClr val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Vorschlag April 2015_Typo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19050" algn="ctr">
          <a:solidFill>
            <a:schemeClr val="tx2"/>
          </a:solidFill>
          <a:miter lim="800000"/>
          <a:headEnd/>
          <a:tailEnd/>
        </a:ln>
        <a:effectLst/>
      </a:spPr>
      <a:bodyPr wrap="square" lIns="108000" tIns="108000" rIns="108000" bIns="108000" rtlCol="0" anchor="ctr" anchorCtr="0">
        <a:noAutofit/>
      </a:bodyPr>
      <a:lstStyle>
        <a:defPPr algn="ctr" defTabSz="457293" fontAlgn="base">
          <a:lnSpc>
            <a:spcPct val="90000"/>
          </a:lnSpc>
          <a:buClr>
            <a:srgbClr val="E20074"/>
          </a:buClr>
          <a:buSzPct val="75000"/>
          <a:defRPr sz="1800" dirty="0" smtClean="0">
            <a:latin typeface="Tele-GroteskNor" pitchFamily="2" charset="0"/>
            <a:cs typeface="Arial Unicode MS" panose="020B0604020202020204" pitchFamily="34" charset="-128"/>
          </a:defRPr>
        </a:defPPr>
      </a:lstStyle>
    </a:spDef>
    <a:lnDef>
      <a:spPr>
        <a:ln w="19050">
          <a:solidFill>
            <a:schemeClr val="tx2"/>
          </a:solidFill>
          <a:miter lim="800000"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 bwMode="gray">
        <a:noFill/>
        <a:ln w="19050">
          <a:noFill/>
          <a:miter lim="800000"/>
          <a:headEnd/>
          <a:tailEnd/>
        </a:ln>
      </a:spPr>
      <a:bodyPr vert="horz" wrap="square" lIns="72000" tIns="36000" rIns="72000" bIns="36000" numCol="1" rtlCol="0" anchor="t" anchorCtr="0" compatLnSpc="1">
        <a:prstTxWarp prst="textNoShape">
          <a:avLst/>
        </a:prstTxWarp>
        <a:noAutofit/>
      </a:bodyPr>
      <a:lstStyle>
        <a:defPPr marL="0" indent="0">
          <a:buNone/>
          <a:defRPr sz="1800" dirty="0" err="1" smtClean="0"/>
        </a:defPPr>
      </a:lstStyle>
    </a:txDef>
  </a:objectDefaults>
  <a:extraClrSchemeLst>
    <a:extraClrScheme>
      <a:clrScheme name="Telekom Screenfarben">
        <a:dk1>
          <a:srgbClr val="4B4B4B"/>
        </a:dk1>
        <a:lt1>
          <a:srgbClr val="FFFFFF"/>
        </a:lt1>
        <a:dk2>
          <a:srgbClr val="E20074"/>
        </a:dk2>
        <a:lt2>
          <a:srgbClr val="A4A4A4"/>
        </a:lt2>
        <a:accent1>
          <a:srgbClr val="1063AD"/>
        </a:accent1>
        <a:accent2>
          <a:srgbClr val="53BAF2"/>
        </a:accent2>
        <a:accent3>
          <a:srgbClr val="1BADA2"/>
        </a:accent3>
        <a:accent4>
          <a:srgbClr val="BFCB44"/>
        </a:accent4>
        <a:accent5>
          <a:srgbClr val="FFD329"/>
        </a:accent5>
        <a:accent6>
          <a:srgbClr val="FF9A1E"/>
        </a:accent6>
        <a:hlink>
          <a:srgbClr val="E20074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T-Systems_MASTER_4-3_EN_20161212" id="{AE2220AC-7902-4E08-8307-9FC4D3010BBB}" vid="{4AC3005C-C50B-4861-A8D5-34A3B72D79DA}"/>
    </a:ext>
  </a:extLst>
</a:theme>
</file>

<file path=ppt/theme/theme2.xml><?xml version="1.0" encoding="utf-8"?>
<a:theme xmlns:a="http://schemas.openxmlformats.org/drawingml/2006/main" name="Larissa-Design">
  <a:themeElements>
    <a:clrScheme name="Telekom Screenfarben">
      <a:dk1>
        <a:srgbClr val="4B4B4B"/>
      </a:dk1>
      <a:lt1>
        <a:sysClr val="window" lastClr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T_PPT Fonts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Telekom Screenfarben">
      <a:dk1>
        <a:srgbClr val="4B4B4B"/>
      </a:dk1>
      <a:lt1>
        <a:sysClr val="window" lastClr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992C99"/>
      </a:hlink>
      <a:folHlink>
        <a:srgbClr val="6C6C6C"/>
      </a:folHlink>
    </a:clrScheme>
    <a:fontScheme name="T_PPT Fonts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-Systems_MASTER_4-3_EN_20161212</Template>
  <TotalTime>0</TotalTime>
  <Words>1048</Words>
  <Application>Microsoft Office PowerPoint</Application>
  <PresentationFormat>Custom</PresentationFormat>
  <Paragraphs>266</Paragraphs>
  <Slides>28</Slides>
  <Notes>24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30" baseType="lpstr">
      <vt:lpstr>T-Systems_MASTER_4-3_EN_20161212</vt:lpstr>
      <vt:lpstr>think-cell Folie</vt:lpstr>
      <vt:lpstr>Project management  Pmo – the basics</vt:lpstr>
      <vt:lpstr>History of PMO</vt:lpstr>
      <vt:lpstr>History of PMO</vt:lpstr>
      <vt:lpstr>History of PMO</vt:lpstr>
      <vt:lpstr>History of PMO</vt:lpstr>
      <vt:lpstr>History of PMO</vt:lpstr>
      <vt:lpstr>Definition of pmo</vt:lpstr>
      <vt:lpstr>Who needs a pmo? </vt:lpstr>
      <vt:lpstr>levels of Pmo</vt:lpstr>
      <vt:lpstr>PMO maturity</vt:lpstr>
      <vt:lpstr>PMO maturity</vt:lpstr>
      <vt:lpstr>PMO maturity</vt:lpstr>
      <vt:lpstr>PMO maturity</vt:lpstr>
      <vt:lpstr>PMO maturity</vt:lpstr>
      <vt:lpstr>PMO maturity</vt:lpstr>
      <vt:lpstr>T&amp;T PROJECT Organization sample – Mirrored Project Organization</vt:lpstr>
      <vt:lpstr>Pmo key tasks</vt:lpstr>
      <vt:lpstr>PMO tasks – initiation &amp; planning     1/3</vt:lpstr>
      <vt:lpstr>PMO Tool-KIT            2/3</vt:lpstr>
      <vt:lpstr>PMO roles &amp; Tasks – on wide-scale    3/3</vt:lpstr>
      <vt:lpstr>Resource management tool</vt:lpstr>
      <vt:lpstr>Resource forecast report</vt:lpstr>
      <vt:lpstr>Resource forecast report</vt:lpstr>
      <vt:lpstr>Communication register – simple</vt:lpstr>
      <vt:lpstr>Communication calendar</vt:lpstr>
      <vt:lpstr>Risk/issue log &amp; action  item list</vt:lpstr>
      <vt:lpstr>PMO’s Reporting basics </vt:lpstr>
      <vt:lpstr>PMO success factors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MO introduction for PTE_nk</dc:title>
  <dc:subject>PTE PMO Lecture 2018/1_eng</dc:subject>
  <dc:creator/>
  <cp:keywords>PMO</cp:keywords>
  <dc:description>eng</dc:description>
  <cp:lastModifiedBy/>
  <cp:revision>1</cp:revision>
  <dcterms:created xsi:type="dcterms:W3CDTF">2018-10-06T09:35:57Z</dcterms:created>
  <dcterms:modified xsi:type="dcterms:W3CDTF">2018-10-09T09:29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2140087</vt:lpwstr>
  </property>
  <property fmtid="{D5CDD505-2E9C-101B-9397-08002B2CF9AE}" pid="3" name="NXPowerLiteSettings">
    <vt:lpwstr>F980073804F000</vt:lpwstr>
  </property>
  <property fmtid="{D5CDD505-2E9C-101B-9397-08002B2CF9AE}" pid="4" name="NXPowerLiteVersion">
    <vt:lpwstr>D6.2.12</vt:lpwstr>
  </property>
</Properties>
</file>